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tiff" ContentType="image/tiff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4"/>
  </p:sldMasterIdLst>
  <p:notesMasterIdLst>
    <p:notesMasterId r:id="rId24"/>
  </p:notesMasterIdLst>
  <p:handoutMasterIdLst>
    <p:handoutMasterId r:id="rId25"/>
  </p:handoutMasterIdLst>
  <p:sldIdLst>
    <p:sldId id="275" r:id="rId5"/>
    <p:sldId id="2147483607" r:id="rId6"/>
    <p:sldId id="2147483611" r:id="rId7"/>
    <p:sldId id="2147483608" r:id="rId8"/>
    <p:sldId id="838841640" r:id="rId9"/>
    <p:sldId id="2147483610" r:id="rId10"/>
    <p:sldId id="2147481177" r:id="rId11"/>
    <p:sldId id="2147483606" r:id="rId12"/>
    <p:sldId id="2147481185" r:id="rId13"/>
    <p:sldId id="2147483627" r:id="rId14"/>
    <p:sldId id="2147481188" r:id="rId15"/>
    <p:sldId id="2147483624" r:id="rId16"/>
    <p:sldId id="2147483613" r:id="rId17"/>
    <p:sldId id="2147483621" r:id="rId18"/>
    <p:sldId id="2147483625" r:id="rId19"/>
    <p:sldId id="2147483626" r:id="rId20"/>
    <p:sldId id="2147483619" r:id="rId21"/>
    <p:sldId id="2147483628" r:id="rId22"/>
    <p:sldId id="2147481183" r:id="rId23"/>
  </p:sldIdLst>
  <p:sldSz cx="12192000" cy="6858000"/>
  <p:notesSz cx="6858000" cy="9144000"/>
  <p:defaultTextStyle>
    <a:defPPr>
      <a:defRPr lang="it-IT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16DBBD13-1809-714F-E6EE-9C5723625FB3}" name="Raffaele Di Camillo (IT)" initials="RD" userId="S::raffaele.di.camillo@pwc.com::1f4607b4-4070-4ee7-9ebe-6f455def4b7b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0636E"/>
    <a:srgbClr val="F8F8F8"/>
    <a:srgbClr val="40B3AA"/>
    <a:srgbClr val="32837D"/>
    <a:srgbClr val="009670"/>
    <a:srgbClr val="FFFFFF"/>
    <a:srgbClr val="E4E9F2"/>
    <a:srgbClr val="2F7A73"/>
    <a:srgbClr val="F1F4F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CD7260CE-2A72-4F07-8D71-6B8B2751CE1B}" v="373" dt="2026-01-20T15:07:49.932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82" d="100"/>
          <a:sy n="82" d="100"/>
        </p:scale>
        <p:origin x="691" y="28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handoutMaster" Target="handoutMasters/handout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notesMaster" Target="notesMasters/notesMaster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theme" Target="theme/theme1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microsoft.com/office/2018/10/relationships/authors" Target="author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viewProps" Target="viewProps.xml"/><Relationship Id="rId30" Type="http://schemas.microsoft.com/office/2015/10/relationships/revisionInfo" Target="revisionInfo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ntestazione 1">
            <a:extLst>
              <a:ext uri="{FF2B5EF4-FFF2-40B4-BE49-F238E27FC236}">
                <a16:creationId xmlns:a16="http://schemas.microsoft.com/office/drawing/2014/main" id="{9C3BC03D-C6AA-5C7A-24FA-36274CB8A5C4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3" name="Segnaposto data 2">
            <a:extLst>
              <a:ext uri="{FF2B5EF4-FFF2-40B4-BE49-F238E27FC236}">
                <a16:creationId xmlns:a16="http://schemas.microsoft.com/office/drawing/2014/main" id="{6E8BBE7E-A533-D0C6-3944-EC0FA40D610B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ED7518A-D1C1-465A-9859-B461C304306B}" type="datetimeFigureOut">
              <a:rPr lang="it-IT" smtClean="0"/>
              <a:t>23/01/2026</a:t>
            </a:fld>
            <a:endParaRPr lang="it-IT"/>
          </a:p>
        </p:txBody>
      </p:sp>
      <p:sp>
        <p:nvSpPr>
          <p:cNvPr id="4" name="Segnaposto piè di pagina 3">
            <a:extLst>
              <a:ext uri="{FF2B5EF4-FFF2-40B4-BE49-F238E27FC236}">
                <a16:creationId xmlns:a16="http://schemas.microsoft.com/office/drawing/2014/main" id="{AD37D5ED-CD70-C6CD-1F5F-174395B4EF9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it-IT"/>
              <a:t>GRUPPOHERA</a:t>
            </a:r>
          </a:p>
        </p:txBody>
      </p:sp>
      <p:sp>
        <p:nvSpPr>
          <p:cNvPr id="5" name="Segnaposto numero diapositiva 4">
            <a:extLst>
              <a:ext uri="{FF2B5EF4-FFF2-40B4-BE49-F238E27FC236}">
                <a16:creationId xmlns:a16="http://schemas.microsoft.com/office/drawing/2014/main" id="{ECE696DF-28E0-9597-EFA0-1D608B057414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80D611C-5E3B-42BE-BE0F-EA0666C9F6A3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702348067"/>
      </p:ext>
    </p:extLst>
  </p:cSld>
  <p:clrMap bg1="lt1" tx1="dk1" bg2="lt2" tx2="dk2" accent1="accent1" accent2="accent2" accent3="accent3" accent4="accent4" accent5="accent5" accent6="accent6" hlink="hlink" folHlink="folHlink"/>
  <p:hf hd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ntestazion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3" name="Segnaposto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05D9B36-D26C-45DE-9043-D60240795E0F}" type="datetimeFigureOut">
              <a:rPr lang="it-IT" smtClean="0"/>
              <a:t>23/01/2026</a:t>
            </a:fld>
            <a:endParaRPr lang="it-IT"/>
          </a:p>
        </p:txBody>
      </p:sp>
      <p:sp>
        <p:nvSpPr>
          <p:cNvPr id="4" name="Segnaposto immagin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it-IT"/>
          </a:p>
        </p:txBody>
      </p:sp>
      <p:sp>
        <p:nvSpPr>
          <p:cNvPr id="5" name="Segnaposto note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6" name="Segnaposto piè di pagina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it-IT"/>
              <a:t>GRUPPOHERA</a:t>
            </a:r>
          </a:p>
        </p:txBody>
      </p:sp>
      <p:sp>
        <p:nvSpPr>
          <p:cNvPr id="7" name="Segnaposto numero diapositiva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1AE77F4-8B33-4599-A1A3-1F3095A1B57F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295423974"/>
      </p:ext>
    </p:extLst>
  </p:cSld>
  <p:clrMap bg1="lt1" tx1="dk1" bg2="lt2" tx2="dk2" accent1="accent1" accent2="accent2" accent3="accent3" accent4="accent4" accent5="accent5" accent6="accent6" hlink="hlink" folHlink="folHlink"/>
  <p:hf hd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161925" y="615950"/>
            <a:ext cx="7100888" cy="3995738"/>
          </a:xfrm>
        </p:spPr>
        <p:txBody>
          <a:bodyPr/>
          <a:lstStyle/>
          <a:p>
            <a:endParaRPr lang="en-US"/>
          </a:p>
        </p:txBody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it-IT"/>
              <a:t>Notes view: </a:t>
            </a:r>
            <a:fld id="{128CEAFE-FA94-43E5-B0FF-D47E1CCDD1B4}" type="slidenum">
              <a:rPr lang="it-IT" smtClean="0"/>
              <a:pPr/>
              <a:t>1</a:t>
            </a:fld>
            <a:endParaRPr lang="it-IT"/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5CAE90C0-5098-0420-8502-6E90202F791F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it-IT"/>
              <a:t>GRUPPOHERA</a:t>
            </a:r>
          </a:p>
        </p:txBody>
      </p:sp>
    </p:spTree>
    <p:extLst>
      <p:ext uri="{BB962C8B-B14F-4D97-AF65-F5344CB8AC3E}">
        <p14:creationId xmlns:p14="http://schemas.microsoft.com/office/powerpoint/2010/main" val="187180725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81730A1-D43F-3D99-1984-D425698DE4B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8850" name="Segnaposto immagine diapositiva 1">
            <a:extLst>
              <a:ext uri="{FF2B5EF4-FFF2-40B4-BE49-F238E27FC236}">
                <a16:creationId xmlns:a16="http://schemas.microsoft.com/office/drawing/2014/main" id="{B8BB90BE-87CF-0E88-B773-12F175FD0713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  <p:txBody>
          <a:bodyPr/>
          <a:lstStyle/>
          <a:p>
            <a:endParaRPr lang="en-US"/>
          </a:p>
        </p:txBody>
      </p:sp>
      <p:sp>
        <p:nvSpPr>
          <p:cNvPr id="78851" name="Segnaposto note 2">
            <a:extLst>
              <a:ext uri="{FF2B5EF4-FFF2-40B4-BE49-F238E27FC236}">
                <a16:creationId xmlns:a16="http://schemas.microsoft.com/office/drawing/2014/main" id="{79A931B6-DFBA-3F81-127A-57525D7A106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​"/>
              <a:tabLst/>
              <a:defRPr/>
            </a:pPr>
            <a:r>
              <a:rPr lang="en-US" sz="1200">
                <a:solidFill>
                  <a:srgbClr val="30636E"/>
                </a:solidFill>
              </a:rPr>
              <a:t>Hera Federico</a:t>
            </a:r>
          </a:p>
          <a:p>
            <a:endParaRPr lang="it-IT" altLang="it-IT" b="0">
              <a:latin typeface="Conduit ITC"/>
            </a:endParaRPr>
          </a:p>
        </p:txBody>
      </p:sp>
      <p:sp>
        <p:nvSpPr>
          <p:cNvPr id="78852" name="Segnaposto numero diapositiva 3">
            <a:extLst>
              <a:ext uri="{FF2B5EF4-FFF2-40B4-BE49-F238E27FC236}">
                <a16:creationId xmlns:a16="http://schemas.microsoft.com/office/drawing/2014/main" id="{A6A75D76-0CC3-F603-8A38-DD65DFE967F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30000"/>
              </a:spcBef>
              <a:defRPr sz="2700">
                <a:solidFill>
                  <a:schemeClr val="tx1"/>
                </a:solidFill>
                <a:latin typeface="Conduit ITC"/>
                <a:ea typeface="MS PGothic" panose="020B0600070205080204" pitchFamily="34" charset="-128"/>
              </a:defRPr>
            </a:lvl1pPr>
            <a:lvl2pPr marL="1656633" indent="-637167">
              <a:spcBef>
                <a:spcPct val="30000"/>
              </a:spcBef>
              <a:defRPr sz="2700">
                <a:solidFill>
                  <a:schemeClr val="tx1"/>
                </a:solidFill>
                <a:latin typeface="Conduit ITC"/>
                <a:ea typeface="MS PGothic" panose="020B0600070205080204" pitchFamily="34" charset="-128"/>
              </a:defRPr>
            </a:lvl2pPr>
            <a:lvl3pPr marL="2548665" indent="-509734">
              <a:spcBef>
                <a:spcPct val="30000"/>
              </a:spcBef>
              <a:defRPr sz="2700">
                <a:solidFill>
                  <a:schemeClr val="tx1"/>
                </a:solidFill>
                <a:latin typeface="Conduit ITC"/>
                <a:ea typeface="MS PGothic" panose="020B0600070205080204" pitchFamily="34" charset="-128"/>
              </a:defRPr>
            </a:lvl3pPr>
            <a:lvl4pPr marL="3568131" indent="-509734">
              <a:spcBef>
                <a:spcPct val="30000"/>
              </a:spcBef>
              <a:defRPr sz="2700">
                <a:solidFill>
                  <a:schemeClr val="tx1"/>
                </a:solidFill>
                <a:latin typeface="Conduit ITC"/>
                <a:ea typeface="MS PGothic" panose="020B0600070205080204" pitchFamily="34" charset="-128"/>
              </a:defRPr>
            </a:lvl4pPr>
            <a:lvl5pPr marL="4587599" indent="-509734">
              <a:spcBef>
                <a:spcPct val="30000"/>
              </a:spcBef>
              <a:defRPr sz="2700">
                <a:solidFill>
                  <a:schemeClr val="tx1"/>
                </a:solidFill>
                <a:latin typeface="Conduit ITC"/>
                <a:ea typeface="MS PGothic" panose="020B0600070205080204" pitchFamily="34" charset="-128"/>
              </a:defRPr>
            </a:lvl5pPr>
            <a:lvl6pPr marL="5607065" indent="-509734" eaLnBrk="0" fontAlgn="base" hangingPunct="0">
              <a:spcBef>
                <a:spcPct val="30000"/>
              </a:spcBef>
              <a:spcAft>
                <a:spcPct val="0"/>
              </a:spcAft>
              <a:defRPr sz="2700">
                <a:solidFill>
                  <a:schemeClr val="tx1"/>
                </a:solidFill>
                <a:latin typeface="Conduit ITC"/>
                <a:ea typeface="MS PGothic" panose="020B0600070205080204" pitchFamily="34" charset="-128"/>
              </a:defRPr>
            </a:lvl6pPr>
            <a:lvl7pPr marL="6626533" indent="-509734" eaLnBrk="0" fontAlgn="base" hangingPunct="0">
              <a:spcBef>
                <a:spcPct val="30000"/>
              </a:spcBef>
              <a:spcAft>
                <a:spcPct val="0"/>
              </a:spcAft>
              <a:defRPr sz="2700">
                <a:solidFill>
                  <a:schemeClr val="tx1"/>
                </a:solidFill>
                <a:latin typeface="Conduit ITC"/>
                <a:ea typeface="MS PGothic" panose="020B0600070205080204" pitchFamily="34" charset="-128"/>
              </a:defRPr>
            </a:lvl7pPr>
            <a:lvl8pPr marL="7645999" indent="-509734" eaLnBrk="0" fontAlgn="base" hangingPunct="0">
              <a:spcBef>
                <a:spcPct val="30000"/>
              </a:spcBef>
              <a:spcAft>
                <a:spcPct val="0"/>
              </a:spcAft>
              <a:defRPr sz="2700">
                <a:solidFill>
                  <a:schemeClr val="tx1"/>
                </a:solidFill>
                <a:latin typeface="Conduit ITC"/>
                <a:ea typeface="MS PGothic" panose="020B0600070205080204" pitchFamily="34" charset="-128"/>
              </a:defRPr>
            </a:lvl8pPr>
            <a:lvl9pPr marL="8665467" indent="-509734" eaLnBrk="0" fontAlgn="base" hangingPunct="0">
              <a:spcBef>
                <a:spcPct val="30000"/>
              </a:spcBef>
              <a:spcAft>
                <a:spcPct val="0"/>
              </a:spcAft>
              <a:defRPr sz="2700">
                <a:solidFill>
                  <a:schemeClr val="tx1"/>
                </a:solidFill>
                <a:latin typeface="Conduit ITC"/>
                <a:ea typeface="MS PGothic" panose="020B0600070205080204" pitchFamily="34" charset="-128"/>
              </a:defRPr>
            </a:lvl9pPr>
          </a:lstStyle>
          <a:p>
            <a:pPr defTabSz="2038932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fld id="{66079052-8143-481C-8848-EA1CC0022F36}" type="slidenum">
              <a:rPr lang="it-IT" altLang="it-IT" sz="2900">
                <a:solidFill>
                  <a:srgbClr val="000000"/>
                </a:solidFill>
                <a:cs typeface="Arial" panose="020B0604020202020204" pitchFamily="34" charset="0"/>
              </a:rPr>
              <a:pPr defTabSz="2038932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t>4</a:t>
            </a:fld>
            <a:endParaRPr lang="it-IT" altLang="it-IT" sz="290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2" name="Segnaposto piè di pagina 1">
            <a:extLst>
              <a:ext uri="{FF2B5EF4-FFF2-40B4-BE49-F238E27FC236}">
                <a16:creationId xmlns:a16="http://schemas.microsoft.com/office/drawing/2014/main" id="{E8DC1A80-4CAC-04BF-C3F3-5C5F2A218154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it-IT"/>
              <a:t>GRUPPOHERA</a:t>
            </a:r>
          </a:p>
        </p:txBody>
      </p:sp>
    </p:spTree>
    <p:extLst>
      <p:ext uri="{BB962C8B-B14F-4D97-AF65-F5344CB8AC3E}">
        <p14:creationId xmlns:p14="http://schemas.microsoft.com/office/powerpoint/2010/main" val="121710717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8850" name="Segnaposto immagine diapositiva 1">
            <a:extLst>
              <a:ext uri="{FF2B5EF4-FFF2-40B4-BE49-F238E27FC236}">
                <a16:creationId xmlns:a16="http://schemas.microsoft.com/office/drawing/2014/main" id="{A3CDA9E7-8D6B-4452-AD45-557D8FD92B8D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  <p:txBody>
          <a:bodyPr/>
          <a:lstStyle/>
          <a:p>
            <a:endParaRPr lang="en-US"/>
          </a:p>
        </p:txBody>
      </p:sp>
      <p:sp>
        <p:nvSpPr>
          <p:cNvPr id="78851" name="Segnaposto note 2">
            <a:extLst>
              <a:ext uri="{FF2B5EF4-FFF2-40B4-BE49-F238E27FC236}">
                <a16:creationId xmlns:a16="http://schemas.microsoft.com/office/drawing/2014/main" id="{D2DF8669-7691-43B3-BA63-5F7957AAFD8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r>
              <a:rPr lang="it-IT" altLang="it-IT" dirty="0">
                <a:latin typeface="Conduit ITC"/>
              </a:rPr>
              <a:t>Navacchia</a:t>
            </a:r>
          </a:p>
        </p:txBody>
      </p:sp>
      <p:sp>
        <p:nvSpPr>
          <p:cNvPr id="78852" name="Segnaposto numero diapositiva 3">
            <a:extLst>
              <a:ext uri="{FF2B5EF4-FFF2-40B4-BE49-F238E27FC236}">
                <a16:creationId xmlns:a16="http://schemas.microsoft.com/office/drawing/2014/main" id="{78851264-6BDE-4BB1-BC4F-E28C06FFED2C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30000"/>
              </a:spcBef>
              <a:defRPr sz="2500">
                <a:solidFill>
                  <a:schemeClr val="tx1"/>
                </a:solidFill>
                <a:latin typeface="Conduit ITC"/>
                <a:ea typeface="MS PGothic" panose="020B0600070205080204" pitchFamily="34" charset="-128"/>
              </a:defRPr>
            </a:lvl1pPr>
            <a:lvl2pPr marL="1539739" indent="-592208">
              <a:spcBef>
                <a:spcPct val="30000"/>
              </a:spcBef>
              <a:defRPr sz="2500">
                <a:solidFill>
                  <a:schemeClr val="tx1"/>
                </a:solidFill>
                <a:latin typeface="Conduit ITC"/>
                <a:ea typeface="MS PGothic" panose="020B0600070205080204" pitchFamily="34" charset="-128"/>
              </a:defRPr>
            </a:lvl2pPr>
            <a:lvl3pPr marL="2368829" indent="-473767">
              <a:spcBef>
                <a:spcPct val="30000"/>
              </a:spcBef>
              <a:defRPr sz="2500">
                <a:solidFill>
                  <a:schemeClr val="tx1"/>
                </a:solidFill>
                <a:latin typeface="Conduit ITC"/>
                <a:ea typeface="MS PGothic" panose="020B0600070205080204" pitchFamily="34" charset="-128"/>
              </a:defRPr>
            </a:lvl3pPr>
            <a:lvl4pPr marL="3316359" indent="-473767">
              <a:spcBef>
                <a:spcPct val="30000"/>
              </a:spcBef>
              <a:defRPr sz="2500">
                <a:solidFill>
                  <a:schemeClr val="tx1"/>
                </a:solidFill>
                <a:latin typeface="Conduit ITC"/>
                <a:ea typeface="MS PGothic" panose="020B0600070205080204" pitchFamily="34" charset="-128"/>
              </a:defRPr>
            </a:lvl4pPr>
            <a:lvl5pPr marL="4263893" indent="-473767">
              <a:spcBef>
                <a:spcPct val="30000"/>
              </a:spcBef>
              <a:defRPr sz="2500">
                <a:solidFill>
                  <a:schemeClr val="tx1"/>
                </a:solidFill>
                <a:latin typeface="Conduit ITC"/>
                <a:ea typeface="MS PGothic" panose="020B0600070205080204" pitchFamily="34" charset="-128"/>
              </a:defRPr>
            </a:lvl5pPr>
            <a:lvl6pPr marL="5211424" indent="-473767" eaLnBrk="0" fontAlgn="base" hangingPunct="0">
              <a:spcBef>
                <a:spcPct val="30000"/>
              </a:spcBef>
              <a:spcAft>
                <a:spcPct val="0"/>
              </a:spcAft>
              <a:defRPr sz="2500">
                <a:solidFill>
                  <a:schemeClr val="tx1"/>
                </a:solidFill>
                <a:latin typeface="Conduit ITC"/>
                <a:ea typeface="MS PGothic" panose="020B0600070205080204" pitchFamily="34" charset="-128"/>
              </a:defRPr>
            </a:lvl6pPr>
            <a:lvl7pPr marL="6158958" indent="-473767" eaLnBrk="0" fontAlgn="base" hangingPunct="0">
              <a:spcBef>
                <a:spcPct val="30000"/>
              </a:spcBef>
              <a:spcAft>
                <a:spcPct val="0"/>
              </a:spcAft>
              <a:defRPr sz="2500">
                <a:solidFill>
                  <a:schemeClr val="tx1"/>
                </a:solidFill>
                <a:latin typeface="Conduit ITC"/>
                <a:ea typeface="MS PGothic" panose="020B0600070205080204" pitchFamily="34" charset="-128"/>
              </a:defRPr>
            </a:lvl7pPr>
            <a:lvl8pPr marL="7106489" indent="-473767" eaLnBrk="0" fontAlgn="base" hangingPunct="0">
              <a:spcBef>
                <a:spcPct val="30000"/>
              </a:spcBef>
              <a:spcAft>
                <a:spcPct val="0"/>
              </a:spcAft>
              <a:defRPr sz="2500">
                <a:solidFill>
                  <a:schemeClr val="tx1"/>
                </a:solidFill>
                <a:latin typeface="Conduit ITC"/>
                <a:ea typeface="MS PGothic" panose="020B0600070205080204" pitchFamily="34" charset="-128"/>
              </a:defRPr>
            </a:lvl8pPr>
            <a:lvl9pPr marL="8054023" indent="-473767" eaLnBrk="0" fontAlgn="base" hangingPunct="0">
              <a:spcBef>
                <a:spcPct val="30000"/>
              </a:spcBef>
              <a:spcAft>
                <a:spcPct val="0"/>
              </a:spcAft>
              <a:defRPr sz="2500">
                <a:solidFill>
                  <a:schemeClr val="tx1"/>
                </a:solidFill>
                <a:latin typeface="Conduit ITC"/>
                <a:ea typeface="MS PGothic" panose="020B0600070205080204" pitchFamily="34" charset="-128"/>
              </a:defRPr>
            </a:lvl9pPr>
          </a:lstStyle>
          <a:p>
            <a:pPr marL="0" marR="0" lvl="0" indent="0" algn="r" defTabSz="1895062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66079052-8143-481C-8848-EA1CC0022F36}" type="slidenum">
              <a:rPr kumimoji="0" lang="it-IT" altLang="it-IT" sz="2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duit ITC"/>
                <a:ea typeface="MS PGothic" panose="020B0600070205080204" pitchFamily="34" charset="-128"/>
                <a:cs typeface="Arial" panose="020B0604020202020204" pitchFamily="34" charset="0"/>
              </a:rPr>
              <a:pPr marL="0" marR="0" lvl="0" indent="0" algn="r" defTabSz="1895062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it-IT" altLang="it-IT" sz="27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onduit ITC"/>
              <a:ea typeface="MS PGothic" panose="020B0600070205080204" pitchFamily="34" charset="-128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4134400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egnaposto piè di pagina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it-IT"/>
              <a:t>GRUPPOHERA</a:t>
            </a:r>
          </a:p>
        </p:txBody>
      </p:sp>
      <p:sp>
        <p:nvSpPr>
          <p:cNvPr id="5" name="Segnaposto numero diapositiva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1AE77F4-8B33-4599-A1A3-1F3095A1B57F}" type="slidenum">
              <a:rPr lang="it-IT" smtClean="0"/>
              <a:t>16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55372463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72F1C48-8F4F-4CE9-9CD7-F142F9ADFAEF}" type="slidenum">
              <a:rPr lang="it-IT" smtClean="0"/>
              <a:t>19</a:t>
            </a:fld>
            <a:endParaRPr lang="it-IT"/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0BD5B433-1176-60D9-3025-1C05839F1D8F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it-IT"/>
              <a:t>GRUPPOHERA</a:t>
            </a:r>
          </a:p>
        </p:txBody>
      </p:sp>
    </p:spTree>
    <p:extLst>
      <p:ext uri="{BB962C8B-B14F-4D97-AF65-F5344CB8AC3E}">
        <p14:creationId xmlns:p14="http://schemas.microsoft.com/office/powerpoint/2010/main" val="346383080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png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.bin"/><Relationship Id="rId4" Type="http://schemas.openxmlformats.org/officeDocument/2006/relationships/image" Target="../media/image1.jpeg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AB6C9907-25EE-858C-AC04-AA8C7FF460A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ottotitolo 2">
            <a:extLst>
              <a:ext uri="{FF2B5EF4-FFF2-40B4-BE49-F238E27FC236}">
                <a16:creationId xmlns:a16="http://schemas.microsoft.com/office/drawing/2014/main" id="{7F1EA5D2-55FC-0A68-E2B4-CFF001FB84B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it-IT"/>
              <a:t>Fare clic per modificare lo stile del sottotitolo dello schema</a:t>
            </a:r>
          </a:p>
        </p:txBody>
      </p:sp>
      <p:sp>
        <p:nvSpPr>
          <p:cNvPr id="4" name="Segnaposto data 3">
            <a:extLst>
              <a:ext uri="{FF2B5EF4-FFF2-40B4-BE49-F238E27FC236}">
                <a16:creationId xmlns:a16="http://schemas.microsoft.com/office/drawing/2014/main" id="{F3024EAF-9DAA-A22F-29AD-5D48CCC8E15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BB25B61B-E4BF-B34E-12F2-BF30BFC123F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it-IT"/>
              <a:t>GRUPPOHERA</a:t>
            </a:r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3AB46D7B-340A-8430-3CB4-D626937B6E4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E967B8-E346-4909-9CAE-F975559D8E7F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69212184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olo e testo vertica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B1C58717-A4AD-DFD7-2A6A-76689899833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testo verticale 2">
            <a:extLst>
              <a:ext uri="{FF2B5EF4-FFF2-40B4-BE49-F238E27FC236}">
                <a16:creationId xmlns:a16="http://schemas.microsoft.com/office/drawing/2014/main" id="{A700C7E1-AA79-7EAD-7229-DC0F3F77522A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data 3">
            <a:extLst>
              <a:ext uri="{FF2B5EF4-FFF2-40B4-BE49-F238E27FC236}">
                <a16:creationId xmlns:a16="http://schemas.microsoft.com/office/drawing/2014/main" id="{F8347E07-5DFF-F4E3-E78E-73107C8657A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4AA571C6-EA53-5DAA-8D84-97C688F253A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it-IT"/>
              <a:t>GRUPPOHERA</a:t>
            </a:r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4E47343B-F2B5-CDC8-642D-32C80D2208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E967B8-E346-4909-9CAE-F975559D8E7F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400525420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1_Titolo e testo vertica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verticale 1">
            <a:extLst>
              <a:ext uri="{FF2B5EF4-FFF2-40B4-BE49-F238E27FC236}">
                <a16:creationId xmlns:a16="http://schemas.microsoft.com/office/drawing/2014/main" id="{DC306FA9-91C0-5B00-B5A3-4C776C928F41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testo verticale 2">
            <a:extLst>
              <a:ext uri="{FF2B5EF4-FFF2-40B4-BE49-F238E27FC236}">
                <a16:creationId xmlns:a16="http://schemas.microsoft.com/office/drawing/2014/main" id="{22DE694A-A96D-A4B9-1F5F-5E8A3DDB8BD6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data 3">
            <a:extLst>
              <a:ext uri="{FF2B5EF4-FFF2-40B4-BE49-F238E27FC236}">
                <a16:creationId xmlns:a16="http://schemas.microsoft.com/office/drawing/2014/main" id="{D1885007-7662-7D6D-30CB-BDECB6DF2D8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F997F1EB-3653-EA48-976E-32A5E99767A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it-IT"/>
              <a:t>GRUPPOHERA</a:t>
            </a:r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BFD3309D-E946-F5BA-59FF-C936C9FAB66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E967B8-E346-4909-9CAE-F975559D8E7F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8454803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magine 5" descr="Immagine che contiene aria aperta, cielo, nuvola, albero&#10;&#10;Il contenuto generato dall'IA potrebbe non essere corretto.">
            <a:extLst>
              <a:ext uri="{FF2B5EF4-FFF2-40B4-BE49-F238E27FC236}">
                <a16:creationId xmlns:a16="http://schemas.microsoft.com/office/drawing/2014/main" id="{0F33A4A0-CB4B-78E8-A486-DCFBCB33F268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rcRect t="20512" r="648"/>
          <a:stretch/>
        </p:blipFill>
        <p:spPr>
          <a:xfrm>
            <a:off x="1" y="0"/>
            <a:ext cx="12191060" cy="5486400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549249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84" imgH="384" progId="TCLayout.ActiveDocument.1">
                  <p:embed/>
                </p:oleObj>
              </mc:Choice>
              <mc:Fallback>
                <p:oleObj name="think-cell Slide" r:id="rId5" imgW="384" imgH="38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 eaLnBrk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</a:pPr>
            <a:endParaRPr lang="it-IT" sz="5400" b="0" i="0" baseline="0">
              <a:solidFill>
                <a:srgbClr val="FFFFF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7" name="Rettangolo 5">
            <a:extLst>
              <a:ext uri="{FF2B5EF4-FFF2-40B4-BE49-F238E27FC236}">
                <a16:creationId xmlns:a16="http://schemas.microsoft.com/office/drawing/2014/main" id="{A18FD075-B5C1-43D7-AA3C-2E5AFB64C723}"/>
              </a:ext>
            </a:extLst>
          </p:cNvPr>
          <p:cNvSpPr/>
          <p:nvPr userDrawn="1"/>
        </p:nvSpPr>
        <p:spPr>
          <a:xfrm>
            <a:off x="0" y="5486400"/>
            <a:ext cx="3874416" cy="1371600"/>
          </a:xfrm>
          <a:prstGeom prst="rect">
            <a:avLst/>
          </a:prstGeom>
          <a:solidFill>
            <a:srgbClr val="45AE92"/>
          </a:solidFill>
          <a:ln w="25400" cap="flat" cmpd="sng" algn="ctr">
            <a:noFill/>
            <a:prstDash val="solid"/>
          </a:ln>
          <a:effectLst/>
        </p:spPr>
        <p:txBody>
          <a:bodyPr anchor="ctr"/>
          <a:lstStyle/>
          <a:p>
            <a:pPr marL="0" marR="0" lvl="0" indent="0" algn="ctr" defTabSz="9144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1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9" name="Rettangolo 6">
            <a:extLst>
              <a:ext uri="{FF2B5EF4-FFF2-40B4-BE49-F238E27FC236}">
                <a16:creationId xmlns:a16="http://schemas.microsoft.com/office/drawing/2014/main" id="{0F2E4EC7-7CC1-4EB6-9D82-6F4217D654F7}"/>
              </a:ext>
            </a:extLst>
          </p:cNvPr>
          <p:cNvSpPr/>
          <p:nvPr userDrawn="1"/>
        </p:nvSpPr>
        <p:spPr>
          <a:xfrm>
            <a:off x="0" y="17757"/>
            <a:ext cx="3874416" cy="5481933"/>
          </a:xfrm>
          <a:prstGeom prst="rect">
            <a:avLst/>
          </a:prstGeom>
          <a:solidFill>
            <a:srgbClr val="45AE92">
              <a:alpha val="40000"/>
            </a:srgbClr>
          </a:solidFill>
          <a:ln w="25400" cap="flat" cmpd="sng" algn="ctr">
            <a:noFill/>
            <a:prstDash val="solid"/>
          </a:ln>
          <a:effectLst/>
        </p:spPr>
        <p:txBody>
          <a:bodyPr anchor="ctr"/>
          <a:lstStyle/>
          <a:p>
            <a:pPr marL="0" marR="0" lvl="0" indent="0" algn="ctr" defTabSz="9144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1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6" name="Subtitle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-56343" y="5825483"/>
            <a:ext cx="3751868" cy="1015663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>
            <a:lvl1pPr algn="r" rtl="0">
              <a:spcBef>
                <a:spcPts val="0"/>
              </a:spcBef>
              <a:spcAft>
                <a:spcPts val="0"/>
              </a:spcAft>
              <a:defRPr kumimoji="0" lang="en-US" sz="2000" b="0" i="0" u="none" strike="noStrike" kern="0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defRPr>
            </a:lvl1pPr>
          </a:lstStyle>
          <a:p>
            <a:pPr marR="0" lvl="0" algn="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it-IT"/>
              <a:t>Impianto di termovalorizzazione rifiuti non pericolosi di Ferrara</a:t>
            </a:r>
          </a:p>
          <a:p>
            <a:pPr marR="0" lvl="0" algn="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lang="it-IT"/>
          </a:p>
        </p:txBody>
      </p:sp>
      <p:sp>
        <p:nvSpPr>
          <p:cNvPr id="25" name="Rettangolo 12">
            <a:extLst>
              <a:ext uri="{FF2B5EF4-FFF2-40B4-BE49-F238E27FC236}">
                <a16:creationId xmlns:a16="http://schemas.microsoft.com/office/drawing/2014/main" id="{95BDA008-5E3B-44A1-860A-C2450FC6B96C}"/>
              </a:ext>
            </a:extLst>
          </p:cNvPr>
          <p:cNvSpPr/>
          <p:nvPr userDrawn="1"/>
        </p:nvSpPr>
        <p:spPr>
          <a:xfrm>
            <a:off x="-940" y="0"/>
            <a:ext cx="12192000" cy="2378515"/>
          </a:xfrm>
          <a:prstGeom prst="rect">
            <a:avLst/>
          </a:prstGeom>
          <a:solidFill>
            <a:srgbClr val="7F7F7F">
              <a:alpha val="40000"/>
            </a:srgbClr>
          </a:solidFill>
          <a:ln w="25400" cap="flat" cmpd="sng" algn="ctr">
            <a:noFill/>
            <a:prstDash val="solid"/>
          </a:ln>
          <a:effectLst/>
        </p:spPr>
        <p:txBody>
          <a:bodyPr anchor="ctr"/>
          <a:lstStyle/>
          <a:p>
            <a:pPr marL="0" marR="0" lvl="0" indent="0" algn="ctr" defTabSz="9144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1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7" name="Title 1"/>
          <p:cNvSpPr>
            <a:spLocks noGrp="1"/>
          </p:cNvSpPr>
          <p:nvPr>
            <p:ph type="ctrTitle" hasCustomPrompt="1"/>
          </p:nvPr>
        </p:nvSpPr>
        <p:spPr bwMode="ltGray">
          <a:xfrm>
            <a:off x="-113628" y="4232388"/>
            <a:ext cx="12192002" cy="1631216"/>
          </a:xfrm>
          <a:prstGeom prst="rect">
            <a:avLst/>
          </a:prstGeom>
          <a:noFill/>
        </p:spPr>
        <p:txBody>
          <a:bodyPr vert="horz" wrap="square">
            <a:spAutoFit/>
          </a:bodyPr>
          <a:lstStyle>
            <a:lvl1pPr rtl="0">
              <a:defRPr kumimoji="0" lang="en-US" sz="9600" b="0" i="0" u="none" strike="noStrike" kern="0" cap="all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</a:defRPr>
            </a:lvl1pPr>
          </a:lstStyle>
          <a:p>
            <a:pPr marL="0" marR="0" lvl="0" indent="0" fontAlgn="auto">
              <a:spcBef>
                <a:spcPts val="0"/>
              </a:spcBef>
              <a:spcAft>
                <a:spcPts val="0"/>
              </a:spcAft>
              <a:buClrTx/>
              <a:buSzTx/>
              <a:buFontTx/>
              <a:tabLst/>
            </a:pPr>
            <a:r>
              <a:rPr lang="it-IT"/>
              <a:t>WTE FERRARA</a:t>
            </a:r>
          </a:p>
        </p:txBody>
      </p:sp>
      <p:pic>
        <p:nvPicPr>
          <p:cNvPr id="2" name="Picture 2">
            <a:extLst>
              <a:ext uri="{FF2B5EF4-FFF2-40B4-BE49-F238E27FC236}">
                <a16:creationId xmlns:a16="http://schemas.microsoft.com/office/drawing/2014/main" id="{E0C13351-E16B-B2FD-F849-E6F8DE2498B2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472075" y="6021642"/>
            <a:ext cx="504000" cy="6560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image3.jpeg">
            <a:extLst>
              <a:ext uri="{FF2B5EF4-FFF2-40B4-BE49-F238E27FC236}">
                <a16:creationId xmlns:a16="http://schemas.microsoft.com/office/drawing/2014/main" id="{8027906C-2D66-668C-82F1-3637292EC60D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print"/>
          <a:stretch>
            <a:fillRect/>
          </a:stretch>
        </p:blipFill>
        <p:spPr>
          <a:xfrm>
            <a:off x="8270451" y="5967423"/>
            <a:ext cx="2825496" cy="7440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389071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moviola_cap0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Titolo 45"/>
          <p:cNvSpPr>
            <a:spLocks noGrp="1"/>
          </p:cNvSpPr>
          <p:nvPr>
            <p:ph type="title"/>
          </p:nvPr>
        </p:nvSpPr>
        <p:spPr>
          <a:xfrm>
            <a:off x="923925" y="0"/>
            <a:ext cx="10355792" cy="912000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 anchorCtr="0"/>
          <a:lstStyle>
            <a:lvl1pPr algn="l">
              <a:defRPr lang="it-IT" sz="2400" b="1">
                <a:solidFill>
                  <a:srgbClr val="054977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it-IT"/>
              <a:t>Fare clic per modificare lo stile del titolo</a:t>
            </a:r>
          </a:p>
        </p:txBody>
      </p:sp>
      <p:sp>
        <p:nvSpPr>
          <p:cNvPr id="6" name="CasellaDiTesto 5">
            <a:extLst>
              <a:ext uri="{FF2B5EF4-FFF2-40B4-BE49-F238E27FC236}">
                <a16:creationId xmlns:a16="http://schemas.microsoft.com/office/drawing/2014/main" id="{D2805839-C12D-4AF1-8832-9C6906C3C2B2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260897" y="5942057"/>
            <a:ext cx="937718" cy="9374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 anchorCtr="1"/>
          <a:lstStyle>
            <a:lvl1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eaLnBrk="1" hangingPunct="1">
              <a:defRPr/>
            </a:pPr>
            <a:fld id="{60974492-4994-467B-A96F-7AD5C98C62DA}" type="slidenum">
              <a:rPr lang="it-IT" altLang="it-IT" sz="1250" b="1" smtClean="0">
                <a:solidFill>
                  <a:srgbClr val="5A5B5E"/>
                </a:solidFill>
              </a:rPr>
              <a:pPr eaLnBrk="1" hangingPunct="1">
                <a:defRPr/>
              </a:pPr>
              <a:t>‹N›</a:t>
            </a:fld>
            <a:endParaRPr lang="it-IT" altLang="it-IT" sz="1250" b="1">
              <a:solidFill>
                <a:srgbClr val="5A5B5E"/>
              </a:solidFill>
            </a:endParaRPr>
          </a:p>
        </p:txBody>
      </p:sp>
      <p:pic>
        <p:nvPicPr>
          <p:cNvPr id="7" name="Immagine 43" descr="logo_hera.pdf">
            <a:extLst>
              <a:ext uri="{FF2B5EF4-FFF2-40B4-BE49-F238E27FC236}">
                <a16:creationId xmlns:a16="http://schemas.microsoft.com/office/drawing/2014/main" id="{4FA9F34B-59DB-4FC9-9792-C6609DB0C8F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296716" y="6345469"/>
            <a:ext cx="979065" cy="14549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54103168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WTE-F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Non è stato fornito nessun testo alternativo per questa immagine">
            <a:extLst>
              <a:ext uri="{FF2B5EF4-FFF2-40B4-BE49-F238E27FC236}">
                <a16:creationId xmlns:a16="http://schemas.microsoft.com/office/drawing/2014/main" id="{230C7C95-DE95-C9A2-E343-EBC07789B04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86713" y="0"/>
            <a:ext cx="4205287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Rettangolo 2">
            <a:extLst>
              <a:ext uri="{FF2B5EF4-FFF2-40B4-BE49-F238E27FC236}">
                <a16:creationId xmlns:a16="http://schemas.microsoft.com/office/drawing/2014/main" id="{974D4048-D55D-A9CB-B586-006834655D0E}"/>
              </a:ext>
            </a:extLst>
          </p:cNvPr>
          <p:cNvSpPr/>
          <p:nvPr userDrawn="1"/>
        </p:nvSpPr>
        <p:spPr>
          <a:xfrm>
            <a:off x="7986713" y="0"/>
            <a:ext cx="4205287" cy="6858000"/>
          </a:xfrm>
          <a:prstGeom prst="rect">
            <a:avLst/>
          </a:prstGeom>
          <a:gradFill flip="none" rotWithShape="1">
            <a:gsLst>
              <a:gs pos="0">
                <a:srgbClr val="00413B">
                  <a:alpha val="30000"/>
                </a:srgbClr>
              </a:gs>
              <a:gs pos="100000">
                <a:srgbClr val="0EA195">
                  <a:alpha val="78000"/>
                </a:srgb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it-IT" sz="2000" b="1" i="1">
              <a:solidFill>
                <a:srgbClr val="549FB2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2" name="CasellaDiTesto 1">
            <a:extLst>
              <a:ext uri="{FF2B5EF4-FFF2-40B4-BE49-F238E27FC236}">
                <a16:creationId xmlns:a16="http://schemas.microsoft.com/office/drawing/2014/main" id="{00DFF658-84D3-84A2-6242-2264FD86CE90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0991854" y="5957888"/>
            <a:ext cx="1200149" cy="9001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 anchorCtr="1"/>
          <a:lstStyle>
            <a:lvl1pPr eaLnBrk="0" hangingPunct="0"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9pPr>
          </a:lstStyle>
          <a:p>
            <a:pPr eaLnBrk="1" hangingPunct="1">
              <a:defRPr/>
            </a:pPr>
            <a:fld id="{31F90291-2639-487C-B89B-D453976F7485}" type="slidenum">
              <a:rPr lang="it-IT" altLang="it-IT" sz="1200" b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pPr eaLnBrk="1" hangingPunct="1">
                <a:defRPr/>
              </a:pPr>
              <a:t>‹N›</a:t>
            </a:fld>
            <a:endParaRPr lang="it-IT" altLang="it-IT" sz="1200" b="1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4" name="Immagine 44" descr="logo_hera.pdf">
            <a:extLst>
              <a:ext uri="{FF2B5EF4-FFF2-40B4-BE49-F238E27FC236}">
                <a16:creationId xmlns:a16="http://schemas.microsoft.com/office/drawing/2014/main" id="{2FC14ACF-CEA8-44CA-D565-3CE95DE8EF6B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57833" y="6345238"/>
            <a:ext cx="1253067" cy="139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04331576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WTE-FE-SEGU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riangolo rettangolo 8">
            <a:extLst>
              <a:ext uri="{FF2B5EF4-FFF2-40B4-BE49-F238E27FC236}">
                <a16:creationId xmlns:a16="http://schemas.microsoft.com/office/drawing/2014/main" id="{F24D4F83-BC56-17DC-987F-F5B675F83D20}"/>
              </a:ext>
            </a:extLst>
          </p:cNvPr>
          <p:cNvSpPr>
            <a:spLocks noChangeAspect="1"/>
          </p:cNvSpPr>
          <p:nvPr userDrawn="1"/>
        </p:nvSpPr>
        <p:spPr>
          <a:xfrm rot="10800000">
            <a:off x="10868639" y="0"/>
            <a:ext cx="1337233" cy="1304925"/>
          </a:xfrm>
          <a:prstGeom prst="rtTriangle">
            <a:avLst/>
          </a:prstGeom>
          <a:solidFill>
            <a:srgbClr val="1D8D91">
              <a:alpha val="68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2" name="Triangolo rettangolo 1">
            <a:extLst>
              <a:ext uri="{FF2B5EF4-FFF2-40B4-BE49-F238E27FC236}">
                <a16:creationId xmlns:a16="http://schemas.microsoft.com/office/drawing/2014/main" id="{7FAD5DDB-1314-6EE4-4768-4969FB37DCF0}"/>
              </a:ext>
            </a:extLst>
          </p:cNvPr>
          <p:cNvSpPr>
            <a:spLocks noChangeAspect="1"/>
          </p:cNvSpPr>
          <p:nvPr userDrawn="1"/>
        </p:nvSpPr>
        <p:spPr>
          <a:xfrm>
            <a:off x="-9235" y="4813351"/>
            <a:ext cx="2104736" cy="2053885"/>
          </a:xfrm>
          <a:prstGeom prst="rtTriangle">
            <a:avLst/>
          </a:prstGeom>
          <a:gradFill flip="none" rotWithShape="1">
            <a:gsLst>
              <a:gs pos="0">
                <a:srgbClr val="00413B">
                  <a:alpha val="84000"/>
                </a:srgbClr>
              </a:gs>
              <a:gs pos="100000">
                <a:srgbClr val="0EA195">
                  <a:alpha val="78000"/>
                </a:srgb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it-IT" sz="2000" b="1" i="1">
              <a:solidFill>
                <a:srgbClr val="549FB2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3" name="CasellaDiTesto 2">
            <a:extLst>
              <a:ext uri="{FF2B5EF4-FFF2-40B4-BE49-F238E27FC236}">
                <a16:creationId xmlns:a16="http://schemas.microsoft.com/office/drawing/2014/main" id="{DAF965F6-39FF-BB37-995F-A18909804788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0991854" y="5957888"/>
            <a:ext cx="1200149" cy="9001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 anchorCtr="1"/>
          <a:lstStyle>
            <a:lvl1pPr eaLnBrk="0" hangingPunct="0"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9pPr>
          </a:lstStyle>
          <a:p>
            <a:pPr eaLnBrk="1" hangingPunct="1">
              <a:defRPr/>
            </a:pPr>
            <a:fld id="{A68C3A89-450E-485E-BB95-37E6FA4069EC}" type="slidenum">
              <a:rPr lang="it-IT" altLang="it-IT" sz="1200" b="1" smtClean="0">
                <a:solidFill>
                  <a:srgbClr val="5A5B5E"/>
                </a:solidFill>
                <a:latin typeface="Arial" pitchFamily="34" charset="0"/>
                <a:cs typeface="Arial" pitchFamily="34" charset="0"/>
              </a:rPr>
              <a:pPr eaLnBrk="1" hangingPunct="1">
                <a:defRPr/>
              </a:pPr>
              <a:t>‹N›</a:t>
            </a:fld>
            <a:endParaRPr lang="it-IT" altLang="it-IT" sz="1200" b="1">
              <a:solidFill>
                <a:srgbClr val="5A5B5E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CasellaDiTesto 3">
            <a:extLst>
              <a:ext uri="{FF2B5EF4-FFF2-40B4-BE49-F238E27FC236}">
                <a16:creationId xmlns:a16="http://schemas.microsoft.com/office/drawing/2014/main" id="{B24ADD68-9C9B-ABF0-4B8A-348B6A9D3A33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0991854" y="5957888"/>
            <a:ext cx="1200149" cy="9001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 anchorCtr="1"/>
          <a:lstStyle>
            <a:lvl1pPr eaLnBrk="0" hangingPunct="0"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9pPr>
          </a:lstStyle>
          <a:p>
            <a:pPr eaLnBrk="1" hangingPunct="1">
              <a:defRPr/>
            </a:pPr>
            <a:fld id="{31F90291-2639-487C-B89B-D453976F7485}" type="slidenum">
              <a:rPr lang="it-IT" altLang="it-IT" sz="1200" b="1" smtClean="0">
                <a:solidFill>
                  <a:srgbClr val="5A5B5E"/>
                </a:solidFill>
                <a:latin typeface="Arial" pitchFamily="34" charset="0"/>
                <a:cs typeface="Arial" pitchFamily="34" charset="0"/>
              </a:rPr>
              <a:pPr eaLnBrk="1" hangingPunct="1">
                <a:defRPr/>
              </a:pPr>
              <a:t>‹N›</a:t>
            </a:fld>
            <a:endParaRPr lang="it-IT" altLang="it-IT" sz="1200" b="1">
              <a:solidFill>
                <a:srgbClr val="5A5B5E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5" name="Immagine 44" descr="logo_hera.pdf">
            <a:extLst>
              <a:ext uri="{FF2B5EF4-FFF2-40B4-BE49-F238E27FC236}">
                <a16:creationId xmlns:a16="http://schemas.microsoft.com/office/drawing/2014/main" id="{8B036DBE-D0D6-B8FB-732E-43C84A9E861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57833" y="6345238"/>
            <a:ext cx="1253067" cy="139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62730700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WTE-FE-SEG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riangolo rettangolo 8">
            <a:extLst>
              <a:ext uri="{FF2B5EF4-FFF2-40B4-BE49-F238E27FC236}">
                <a16:creationId xmlns:a16="http://schemas.microsoft.com/office/drawing/2014/main" id="{F24D4F83-BC56-17DC-987F-F5B675F83D20}"/>
              </a:ext>
            </a:extLst>
          </p:cNvPr>
          <p:cNvSpPr>
            <a:spLocks noChangeAspect="1"/>
          </p:cNvSpPr>
          <p:nvPr userDrawn="1"/>
        </p:nvSpPr>
        <p:spPr>
          <a:xfrm rot="10800000">
            <a:off x="10868639" y="0"/>
            <a:ext cx="1337233" cy="1304925"/>
          </a:xfrm>
          <a:prstGeom prst="rtTriangle">
            <a:avLst/>
          </a:prstGeom>
          <a:solidFill>
            <a:srgbClr val="1D8D91">
              <a:alpha val="68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2" name="CasellaDiTesto 1">
            <a:extLst>
              <a:ext uri="{FF2B5EF4-FFF2-40B4-BE49-F238E27FC236}">
                <a16:creationId xmlns:a16="http://schemas.microsoft.com/office/drawing/2014/main" id="{000419FE-A2D4-A0E6-B56B-9308BA81FD26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0991854" y="5957888"/>
            <a:ext cx="1200149" cy="9001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 anchorCtr="1"/>
          <a:lstStyle>
            <a:lvl1pPr eaLnBrk="0" hangingPunct="0"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9pPr>
          </a:lstStyle>
          <a:p>
            <a:pPr eaLnBrk="1" hangingPunct="1">
              <a:defRPr/>
            </a:pPr>
            <a:fld id="{A68C3A89-450E-485E-BB95-37E6FA4069EC}" type="slidenum">
              <a:rPr lang="it-IT" altLang="it-IT" sz="1200" b="1" smtClean="0">
                <a:solidFill>
                  <a:srgbClr val="5A5B5E"/>
                </a:solidFill>
                <a:latin typeface="Arial" pitchFamily="34" charset="0"/>
                <a:cs typeface="Arial" pitchFamily="34" charset="0"/>
              </a:rPr>
              <a:pPr eaLnBrk="1" hangingPunct="1">
                <a:defRPr/>
              </a:pPr>
              <a:t>‹N›</a:t>
            </a:fld>
            <a:endParaRPr lang="it-IT" altLang="it-IT" sz="1200" b="1">
              <a:solidFill>
                <a:srgbClr val="5A5B5E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CasellaDiTesto 4">
            <a:extLst>
              <a:ext uri="{FF2B5EF4-FFF2-40B4-BE49-F238E27FC236}">
                <a16:creationId xmlns:a16="http://schemas.microsoft.com/office/drawing/2014/main" id="{0CBBE406-686C-854F-42B4-75082253D86D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0991854" y="5957888"/>
            <a:ext cx="1200149" cy="9001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 anchorCtr="1"/>
          <a:lstStyle>
            <a:lvl1pPr eaLnBrk="0" hangingPunct="0"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9pPr>
          </a:lstStyle>
          <a:p>
            <a:pPr eaLnBrk="1" hangingPunct="1">
              <a:defRPr/>
            </a:pPr>
            <a:fld id="{31F90291-2639-487C-B89B-D453976F7485}" type="slidenum">
              <a:rPr lang="it-IT" altLang="it-IT" sz="1200" b="1" smtClean="0">
                <a:solidFill>
                  <a:srgbClr val="5A5B5E"/>
                </a:solidFill>
                <a:latin typeface="Arial" pitchFamily="34" charset="0"/>
                <a:cs typeface="Arial" pitchFamily="34" charset="0"/>
              </a:rPr>
              <a:pPr eaLnBrk="1" hangingPunct="1">
                <a:defRPr/>
              </a:pPr>
              <a:t>‹N›</a:t>
            </a:fld>
            <a:endParaRPr lang="it-IT" altLang="it-IT" sz="1200" b="1">
              <a:solidFill>
                <a:srgbClr val="5A5B5E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6" name="Immagine 44" descr="logo_hera.pdf">
            <a:extLst>
              <a:ext uri="{FF2B5EF4-FFF2-40B4-BE49-F238E27FC236}">
                <a16:creationId xmlns:a16="http://schemas.microsoft.com/office/drawing/2014/main" id="{F681B716-DB9E-3BEA-81CA-11FBCB946C8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57833" y="6345238"/>
            <a:ext cx="1253067" cy="139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83829541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moviola_cap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Titolo 45"/>
          <p:cNvSpPr>
            <a:spLocks noGrp="1"/>
          </p:cNvSpPr>
          <p:nvPr>
            <p:ph type="title"/>
          </p:nvPr>
        </p:nvSpPr>
        <p:spPr>
          <a:xfrm>
            <a:off x="923925" y="0"/>
            <a:ext cx="10355792" cy="912000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 anchorCtr="0"/>
          <a:lstStyle>
            <a:lvl1pPr algn="l">
              <a:defRPr lang="it-IT" sz="2400" b="1">
                <a:solidFill>
                  <a:srgbClr val="054977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it-IT"/>
              <a:t>Fare clic per modificare lo stile del titolo</a:t>
            </a:r>
          </a:p>
        </p:txBody>
      </p:sp>
      <p:sp>
        <p:nvSpPr>
          <p:cNvPr id="17" name="CasellaDiTesto 16">
            <a:extLst>
              <a:ext uri="{FF2B5EF4-FFF2-40B4-BE49-F238E27FC236}">
                <a16:creationId xmlns:a16="http://schemas.microsoft.com/office/drawing/2014/main" id="{51743F21-71AF-451B-B0E6-CCDFD35916A3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260897" y="5942057"/>
            <a:ext cx="937718" cy="9374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 anchorCtr="1"/>
          <a:lstStyle>
            <a:lvl1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eaLnBrk="1" hangingPunct="1">
              <a:defRPr/>
            </a:pPr>
            <a:fld id="{60974492-4994-467B-A96F-7AD5C98C62DA}" type="slidenum">
              <a:rPr lang="it-IT" altLang="it-IT" sz="1250" b="1" smtClean="0">
                <a:solidFill>
                  <a:srgbClr val="5A5B5E"/>
                </a:solidFill>
              </a:rPr>
              <a:pPr eaLnBrk="1" hangingPunct="1">
                <a:defRPr/>
              </a:pPr>
              <a:t>‹N›</a:t>
            </a:fld>
            <a:endParaRPr lang="it-IT" altLang="it-IT" sz="1250" b="1">
              <a:solidFill>
                <a:srgbClr val="5A5B5E"/>
              </a:solidFill>
            </a:endParaRPr>
          </a:p>
        </p:txBody>
      </p:sp>
      <p:pic>
        <p:nvPicPr>
          <p:cNvPr id="18" name="Immagine 43" descr="logo_hera.pdf">
            <a:extLst>
              <a:ext uri="{FF2B5EF4-FFF2-40B4-BE49-F238E27FC236}">
                <a16:creationId xmlns:a16="http://schemas.microsoft.com/office/drawing/2014/main" id="{A91E1AFB-81CE-4A3C-B48F-3D6E6029F10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296716" y="6345469"/>
            <a:ext cx="979065" cy="14549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27713886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ol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974777F8-FC17-5D88-6336-1926F00C17D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contenuto 2">
            <a:extLst>
              <a:ext uri="{FF2B5EF4-FFF2-40B4-BE49-F238E27FC236}">
                <a16:creationId xmlns:a16="http://schemas.microsoft.com/office/drawing/2014/main" id="{652FEDD3-43C1-A528-1A04-9686BEB0EEA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data 3">
            <a:extLst>
              <a:ext uri="{FF2B5EF4-FFF2-40B4-BE49-F238E27FC236}">
                <a16:creationId xmlns:a16="http://schemas.microsoft.com/office/drawing/2014/main" id="{807B8C72-81E1-672D-8A2B-0BF2C5BF33B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A29429B0-48EC-0854-2A99-778F8B18ADA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it-IT"/>
              <a:t>GRUPPOHERA</a:t>
            </a:r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D751F305-AC06-2039-0E6C-2DA2E7F3A79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E967B8-E346-4909-9CAE-F975559D8E7F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71080460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Intestazione sezi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FFE959DD-EE8C-1782-E74B-BA31316ACA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testo 2">
            <a:extLst>
              <a:ext uri="{FF2B5EF4-FFF2-40B4-BE49-F238E27FC236}">
                <a16:creationId xmlns:a16="http://schemas.microsoft.com/office/drawing/2014/main" id="{B730C2E9-995E-57DC-29C7-5E341D0F948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82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4" name="Segnaposto data 3">
            <a:extLst>
              <a:ext uri="{FF2B5EF4-FFF2-40B4-BE49-F238E27FC236}">
                <a16:creationId xmlns:a16="http://schemas.microsoft.com/office/drawing/2014/main" id="{916C9A79-CD4D-DDFD-EBAC-6F773F1508D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5178BEF7-6F66-CBE1-3573-13B7D1DD4FE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it-IT"/>
              <a:t>GRUPPOHERA</a:t>
            </a:r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EB007E9E-E375-C467-6C1A-2E7E8CF8260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E967B8-E346-4909-9CAE-F975559D8E7F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62080198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e contenu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5E898C4B-52D3-C786-8F48-D03F6A706B2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contenuto 2">
            <a:extLst>
              <a:ext uri="{FF2B5EF4-FFF2-40B4-BE49-F238E27FC236}">
                <a16:creationId xmlns:a16="http://schemas.microsoft.com/office/drawing/2014/main" id="{1B62AAE7-47FC-3440-CA34-CF6AAD0B2936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contenuto 3">
            <a:extLst>
              <a:ext uri="{FF2B5EF4-FFF2-40B4-BE49-F238E27FC236}">
                <a16:creationId xmlns:a16="http://schemas.microsoft.com/office/drawing/2014/main" id="{D474CC1C-FE57-96E1-9360-6E1EC27D7D8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5" name="Segnaposto data 4">
            <a:extLst>
              <a:ext uri="{FF2B5EF4-FFF2-40B4-BE49-F238E27FC236}">
                <a16:creationId xmlns:a16="http://schemas.microsoft.com/office/drawing/2014/main" id="{9A6858F8-DF3B-AC88-50DA-56C07471FC7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egnaposto piè di pagina 5">
            <a:extLst>
              <a:ext uri="{FF2B5EF4-FFF2-40B4-BE49-F238E27FC236}">
                <a16:creationId xmlns:a16="http://schemas.microsoft.com/office/drawing/2014/main" id="{7E0F4444-627E-843F-CA63-9E1E290B0D6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it-IT"/>
              <a:t>GRUPPOHERA</a:t>
            </a:r>
          </a:p>
        </p:txBody>
      </p:sp>
      <p:sp>
        <p:nvSpPr>
          <p:cNvPr id="7" name="Segnaposto numero diapositiva 6">
            <a:extLst>
              <a:ext uri="{FF2B5EF4-FFF2-40B4-BE49-F238E27FC236}">
                <a16:creationId xmlns:a16="http://schemas.microsoft.com/office/drawing/2014/main" id="{1BEAA044-AD19-F1FD-1946-E3E7212E549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E967B8-E346-4909-9CAE-F975559D8E7F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48292202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nfron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0086A10F-2A6F-7C3A-B6A4-30A393C06A4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testo 2">
            <a:extLst>
              <a:ext uri="{FF2B5EF4-FFF2-40B4-BE49-F238E27FC236}">
                <a16:creationId xmlns:a16="http://schemas.microsoft.com/office/drawing/2014/main" id="{30EEA5C5-6CA7-9D0A-4F88-9337C83AFE6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4" name="Segnaposto contenuto 3">
            <a:extLst>
              <a:ext uri="{FF2B5EF4-FFF2-40B4-BE49-F238E27FC236}">
                <a16:creationId xmlns:a16="http://schemas.microsoft.com/office/drawing/2014/main" id="{C2C48372-9414-1FE0-D3CF-D3FFB062AEB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5" name="Segnaposto testo 4">
            <a:extLst>
              <a:ext uri="{FF2B5EF4-FFF2-40B4-BE49-F238E27FC236}">
                <a16:creationId xmlns:a16="http://schemas.microsoft.com/office/drawing/2014/main" id="{C1B3A3AD-F0AB-645B-954C-2AE9669E59E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6" name="Segnaposto contenuto 5">
            <a:extLst>
              <a:ext uri="{FF2B5EF4-FFF2-40B4-BE49-F238E27FC236}">
                <a16:creationId xmlns:a16="http://schemas.microsoft.com/office/drawing/2014/main" id="{9CB56DDE-CB66-3D2C-4F36-E59031C06305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7" name="Segnaposto data 6">
            <a:extLst>
              <a:ext uri="{FF2B5EF4-FFF2-40B4-BE49-F238E27FC236}">
                <a16:creationId xmlns:a16="http://schemas.microsoft.com/office/drawing/2014/main" id="{C112F3A2-982C-A816-A6ED-E9A91CC8F94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8" name="Segnaposto piè di pagina 7">
            <a:extLst>
              <a:ext uri="{FF2B5EF4-FFF2-40B4-BE49-F238E27FC236}">
                <a16:creationId xmlns:a16="http://schemas.microsoft.com/office/drawing/2014/main" id="{00FA9D2F-D77F-AA5D-3E00-9FC55789417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it-IT"/>
              <a:t>GRUPPOHERA</a:t>
            </a:r>
          </a:p>
        </p:txBody>
      </p:sp>
      <p:sp>
        <p:nvSpPr>
          <p:cNvPr id="9" name="Segnaposto numero diapositiva 8">
            <a:extLst>
              <a:ext uri="{FF2B5EF4-FFF2-40B4-BE49-F238E27FC236}">
                <a16:creationId xmlns:a16="http://schemas.microsoft.com/office/drawing/2014/main" id="{7AB88822-8D45-4232-3C5A-0275D51A94A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E967B8-E346-4909-9CAE-F975559D8E7F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406223048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A32E6A1D-FE0A-3AB1-6F77-5FDD40A4918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data 2">
            <a:extLst>
              <a:ext uri="{FF2B5EF4-FFF2-40B4-BE49-F238E27FC236}">
                <a16:creationId xmlns:a16="http://schemas.microsoft.com/office/drawing/2014/main" id="{FC0A6D8C-DB00-E0B0-2679-CBB02703E0A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egnaposto piè di pagina 3">
            <a:extLst>
              <a:ext uri="{FF2B5EF4-FFF2-40B4-BE49-F238E27FC236}">
                <a16:creationId xmlns:a16="http://schemas.microsoft.com/office/drawing/2014/main" id="{2D0D82B7-7EAD-C706-C726-6A0EE20A4FE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it-IT"/>
              <a:t>GRUPPOHERA</a:t>
            </a:r>
          </a:p>
        </p:txBody>
      </p:sp>
      <p:sp>
        <p:nvSpPr>
          <p:cNvPr id="5" name="Segnaposto numero diapositiva 4">
            <a:extLst>
              <a:ext uri="{FF2B5EF4-FFF2-40B4-BE49-F238E27FC236}">
                <a16:creationId xmlns:a16="http://schemas.microsoft.com/office/drawing/2014/main" id="{F8CB2E56-3CD3-4DC6-948B-C86D6AEB5FE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E967B8-E346-4909-9CAE-F975559D8E7F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06160291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uo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data 1">
            <a:extLst>
              <a:ext uri="{FF2B5EF4-FFF2-40B4-BE49-F238E27FC236}">
                <a16:creationId xmlns:a16="http://schemas.microsoft.com/office/drawing/2014/main" id="{44B31CF7-E970-4F32-46E5-FDCC1CB0350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3" name="Segnaposto piè di pagina 2">
            <a:extLst>
              <a:ext uri="{FF2B5EF4-FFF2-40B4-BE49-F238E27FC236}">
                <a16:creationId xmlns:a16="http://schemas.microsoft.com/office/drawing/2014/main" id="{702CDF43-924D-FFC2-8BFA-4480D38D7D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it-IT"/>
              <a:t>GRUPPOHERA</a:t>
            </a:r>
          </a:p>
        </p:txBody>
      </p:sp>
      <p:sp>
        <p:nvSpPr>
          <p:cNvPr id="4" name="Segnaposto numero diapositiva 3">
            <a:extLst>
              <a:ext uri="{FF2B5EF4-FFF2-40B4-BE49-F238E27FC236}">
                <a16:creationId xmlns:a16="http://schemas.microsoft.com/office/drawing/2014/main" id="{09C2800D-F71F-C680-EC09-5056424722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E967B8-E346-4909-9CAE-F975559D8E7F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48942970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to con didascal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4CF10234-30FE-C83B-624B-782EFDD293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contenuto 2">
            <a:extLst>
              <a:ext uri="{FF2B5EF4-FFF2-40B4-BE49-F238E27FC236}">
                <a16:creationId xmlns:a16="http://schemas.microsoft.com/office/drawing/2014/main" id="{8CAE567C-92BF-7231-202C-BD11DDC0D4A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testo 3">
            <a:extLst>
              <a:ext uri="{FF2B5EF4-FFF2-40B4-BE49-F238E27FC236}">
                <a16:creationId xmlns:a16="http://schemas.microsoft.com/office/drawing/2014/main" id="{9A22D403-C7A1-29DB-3C54-1C422E3D94B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5" name="Segnaposto data 4">
            <a:extLst>
              <a:ext uri="{FF2B5EF4-FFF2-40B4-BE49-F238E27FC236}">
                <a16:creationId xmlns:a16="http://schemas.microsoft.com/office/drawing/2014/main" id="{58D4C2D7-AD08-A580-385A-766C1762EED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egnaposto piè di pagina 5">
            <a:extLst>
              <a:ext uri="{FF2B5EF4-FFF2-40B4-BE49-F238E27FC236}">
                <a16:creationId xmlns:a16="http://schemas.microsoft.com/office/drawing/2014/main" id="{D3831D02-E28F-3609-126B-9F20BF0AD03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it-IT"/>
              <a:t>GRUPPOHERA</a:t>
            </a:r>
          </a:p>
        </p:txBody>
      </p:sp>
      <p:sp>
        <p:nvSpPr>
          <p:cNvPr id="7" name="Segnaposto numero diapositiva 6">
            <a:extLst>
              <a:ext uri="{FF2B5EF4-FFF2-40B4-BE49-F238E27FC236}">
                <a16:creationId xmlns:a16="http://schemas.microsoft.com/office/drawing/2014/main" id="{2A6FA341-DDD7-4617-CD78-538FC14042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E967B8-E346-4909-9CAE-F975559D8E7F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12474504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magine con didascal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0E325CFE-590D-39B3-5BCE-3A0C8E445F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immagine 2">
            <a:extLst>
              <a:ext uri="{FF2B5EF4-FFF2-40B4-BE49-F238E27FC236}">
                <a16:creationId xmlns:a16="http://schemas.microsoft.com/office/drawing/2014/main" id="{31B06F7B-92D1-80B7-B9B4-B699048BA41D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it-IT"/>
          </a:p>
        </p:txBody>
      </p:sp>
      <p:sp>
        <p:nvSpPr>
          <p:cNvPr id="4" name="Segnaposto testo 3">
            <a:extLst>
              <a:ext uri="{FF2B5EF4-FFF2-40B4-BE49-F238E27FC236}">
                <a16:creationId xmlns:a16="http://schemas.microsoft.com/office/drawing/2014/main" id="{6C56DE3E-74EA-2F5F-857D-487475FBBE0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5" name="Segnaposto data 4">
            <a:extLst>
              <a:ext uri="{FF2B5EF4-FFF2-40B4-BE49-F238E27FC236}">
                <a16:creationId xmlns:a16="http://schemas.microsoft.com/office/drawing/2014/main" id="{DCCF1E94-C8F1-917F-1631-4CC0FE05A7A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egnaposto piè di pagina 5">
            <a:extLst>
              <a:ext uri="{FF2B5EF4-FFF2-40B4-BE49-F238E27FC236}">
                <a16:creationId xmlns:a16="http://schemas.microsoft.com/office/drawing/2014/main" id="{C46E49AD-AF0F-FE82-809E-20167E3E35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it-IT"/>
              <a:t>GRUPPOHERA</a:t>
            </a:r>
          </a:p>
        </p:txBody>
      </p:sp>
      <p:sp>
        <p:nvSpPr>
          <p:cNvPr id="7" name="Segnaposto numero diapositiva 6">
            <a:extLst>
              <a:ext uri="{FF2B5EF4-FFF2-40B4-BE49-F238E27FC236}">
                <a16:creationId xmlns:a16="http://schemas.microsoft.com/office/drawing/2014/main" id="{09B91CA7-E060-4954-7146-4AF36E4B457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E967B8-E346-4909-9CAE-F975559D8E7F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414970890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titolo 1">
            <a:extLst>
              <a:ext uri="{FF2B5EF4-FFF2-40B4-BE49-F238E27FC236}">
                <a16:creationId xmlns:a16="http://schemas.microsoft.com/office/drawing/2014/main" id="{50C5A37B-F8CC-2B44-508A-E780FD9CAFB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testo 2">
            <a:extLst>
              <a:ext uri="{FF2B5EF4-FFF2-40B4-BE49-F238E27FC236}">
                <a16:creationId xmlns:a16="http://schemas.microsoft.com/office/drawing/2014/main" id="{AD670D7B-66A2-B187-A40C-4EB6AA3AC8E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data 3">
            <a:extLst>
              <a:ext uri="{FF2B5EF4-FFF2-40B4-BE49-F238E27FC236}">
                <a16:creationId xmlns:a16="http://schemas.microsoft.com/office/drawing/2014/main" id="{04E06B2F-E59B-F159-644E-C9AC8B9679F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it-IT"/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6095A6CE-1D76-DD93-B499-24F0EDA3286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r>
              <a:rPr lang="it-IT"/>
              <a:t>GRUPPOHERA</a:t>
            </a:r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7C130FB6-5418-CF4B-AB5F-09D7A15EDEE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35E967B8-E346-4909-9CAE-F975559D8E7F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65712242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1" r:id="rId12"/>
    <p:sldLayoutId id="2147483662" r:id="rId13"/>
    <p:sldLayoutId id="2147483664" r:id="rId14"/>
    <p:sldLayoutId id="2147483665" r:id="rId15"/>
    <p:sldLayoutId id="2147483666" r:id="rId16"/>
    <p:sldLayoutId id="2147483668" r:id="rId17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it-I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7" Type="http://schemas.openxmlformats.org/officeDocument/2006/relationships/image" Target="../media/image9.jpeg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3.xml"/><Relationship Id="rId6" Type="http://schemas.openxmlformats.org/officeDocument/2006/relationships/image" Target="../media/image8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2.bin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8.svg"/><Relationship Id="rId2" Type="http://schemas.openxmlformats.org/officeDocument/2006/relationships/image" Target="../media/image67.png"/><Relationship Id="rId1" Type="http://schemas.openxmlformats.org/officeDocument/2006/relationships/slideLayout" Target="../slideLayouts/slideLayout15.xml"/><Relationship Id="rId5" Type="http://schemas.openxmlformats.org/officeDocument/2006/relationships/image" Target="../media/image70.svg"/><Relationship Id="rId4" Type="http://schemas.openxmlformats.org/officeDocument/2006/relationships/image" Target="../media/image69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1.png"/><Relationship Id="rId2" Type="http://schemas.openxmlformats.org/officeDocument/2006/relationships/slideLayout" Target="../slideLayouts/slideLayout15.xml"/><Relationship Id="rId1" Type="http://schemas.openxmlformats.org/officeDocument/2006/relationships/tags" Target="../tags/tag7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8.svg"/><Relationship Id="rId2" Type="http://schemas.openxmlformats.org/officeDocument/2006/relationships/image" Target="../media/image67.png"/><Relationship Id="rId1" Type="http://schemas.openxmlformats.org/officeDocument/2006/relationships/slideLayout" Target="../slideLayouts/slideLayout13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3.svg"/><Relationship Id="rId2" Type="http://schemas.openxmlformats.org/officeDocument/2006/relationships/image" Target="../media/image72.png"/><Relationship Id="rId1" Type="http://schemas.openxmlformats.org/officeDocument/2006/relationships/slideLayout" Target="../slideLayouts/slideLayout13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4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75.svg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6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5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13.png"/><Relationship Id="rId5" Type="http://schemas.openxmlformats.org/officeDocument/2006/relationships/image" Target="../media/image12.png"/><Relationship Id="rId4" Type="http://schemas.openxmlformats.org/officeDocument/2006/relationships/image" Target="../media/image11.png"/></Relationships>
</file>

<file path=ppt/slides/_rels/slide5.xml.rels><?xml version="1.0" encoding="UTF-8" standalone="yes"?>
<Relationships xmlns="http://schemas.openxmlformats.org/package/2006/relationships"><Relationship Id="rId13" Type="http://schemas.openxmlformats.org/officeDocument/2006/relationships/image" Target="../media/image24.png"/><Relationship Id="rId18" Type="http://schemas.openxmlformats.org/officeDocument/2006/relationships/image" Target="../media/image29.jpeg"/><Relationship Id="rId26" Type="http://schemas.openxmlformats.org/officeDocument/2006/relationships/image" Target="../media/image37.jpeg"/><Relationship Id="rId39" Type="http://schemas.openxmlformats.org/officeDocument/2006/relationships/image" Target="../media/image50.svg"/><Relationship Id="rId21" Type="http://schemas.openxmlformats.org/officeDocument/2006/relationships/image" Target="../media/image32.png"/><Relationship Id="rId34" Type="http://schemas.openxmlformats.org/officeDocument/2006/relationships/image" Target="../media/image45.png"/><Relationship Id="rId7" Type="http://schemas.openxmlformats.org/officeDocument/2006/relationships/image" Target="../media/image18.png"/><Relationship Id="rId2" Type="http://schemas.openxmlformats.org/officeDocument/2006/relationships/notesSlide" Target="../notesSlides/notesSlide3.xml"/><Relationship Id="rId16" Type="http://schemas.openxmlformats.org/officeDocument/2006/relationships/image" Target="../media/image27.png"/><Relationship Id="rId20" Type="http://schemas.openxmlformats.org/officeDocument/2006/relationships/image" Target="../media/image31.png"/><Relationship Id="rId29" Type="http://schemas.openxmlformats.org/officeDocument/2006/relationships/image" Target="../media/image40.jpeg"/><Relationship Id="rId41" Type="http://schemas.openxmlformats.org/officeDocument/2006/relationships/image" Target="../media/image52.png"/><Relationship Id="rId1" Type="http://schemas.openxmlformats.org/officeDocument/2006/relationships/slideLayout" Target="../slideLayouts/slideLayout17.xml"/><Relationship Id="rId6" Type="http://schemas.openxmlformats.org/officeDocument/2006/relationships/image" Target="../media/image17.png"/><Relationship Id="rId11" Type="http://schemas.openxmlformats.org/officeDocument/2006/relationships/image" Target="../media/image22.png"/><Relationship Id="rId24" Type="http://schemas.openxmlformats.org/officeDocument/2006/relationships/image" Target="../media/image35.jpeg"/><Relationship Id="rId32" Type="http://schemas.openxmlformats.org/officeDocument/2006/relationships/image" Target="../media/image43.png"/><Relationship Id="rId37" Type="http://schemas.openxmlformats.org/officeDocument/2006/relationships/image" Target="../media/image48.svg"/><Relationship Id="rId40" Type="http://schemas.openxmlformats.org/officeDocument/2006/relationships/image" Target="../media/image51.jpeg"/><Relationship Id="rId5" Type="http://schemas.openxmlformats.org/officeDocument/2006/relationships/image" Target="../media/image16.png"/><Relationship Id="rId15" Type="http://schemas.openxmlformats.org/officeDocument/2006/relationships/image" Target="../media/image26.jpeg"/><Relationship Id="rId23" Type="http://schemas.openxmlformats.org/officeDocument/2006/relationships/image" Target="../media/image34.gif"/><Relationship Id="rId28" Type="http://schemas.openxmlformats.org/officeDocument/2006/relationships/image" Target="../media/image39.png"/><Relationship Id="rId36" Type="http://schemas.openxmlformats.org/officeDocument/2006/relationships/image" Target="../media/image47.png"/><Relationship Id="rId10" Type="http://schemas.openxmlformats.org/officeDocument/2006/relationships/image" Target="../media/image21.png"/><Relationship Id="rId19" Type="http://schemas.openxmlformats.org/officeDocument/2006/relationships/image" Target="../media/image30.png"/><Relationship Id="rId31" Type="http://schemas.openxmlformats.org/officeDocument/2006/relationships/image" Target="../media/image42.jpeg"/><Relationship Id="rId4" Type="http://schemas.openxmlformats.org/officeDocument/2006/relationships/image" Target="../media/image15.png"/><Relationship Id="rId9" Type="http://schemas.openxmlformats.org/officeDocument/2006/relationships/image" Target="../media/image20.png"/><Relationship Id="rId14" Type="http://schemas.openxmlformats.org/officeDocument/2006/relationships/image" Target="../media/image25.jpeg"/><Relationship Id="rId22" Type="http://schemas.openxmlformats.org/officeDocument/2006/relationships/image" Target="../media/image33.png"/><Relationship Id="rId27" Type="http://schemas.openxmlformats.org/officeDocument/2006/relationships/image" Target="../media/image38.png"/><Relationship Id="rId30" Type="http://schemas.openxmlformats.org/officeDocument/2006/relationships/image" Target="../media/image41.png"/><Relationship Id="rId35" Type="http://schemas.openxmlformats.org/officeDocument/2006/relationships/image" Target="../media/image46.jpeg"/><Relationship Id="rId8" Type="http://schemas.openxmlformats.org/officeDocument/2006/relationships/image" Target="../media/image19.png"/><Relationship Id="rId3" Type="http://schemas.openxmlformats.org/officeDocument/2006/relationships/image" Target="../media/image14.png"/><Relationship Id="rId12" Type="http://schemas.openxmlformats.org/officeDocument/2006/relationships/image" Target="../media/image23.png"/><Relationship Id="rId17" Type="http://schemas.openxmlformats.org/officeDocument/2006/relationships/image" Target="../media/image28.png"/><Relationship Id="rId25" Type="http://schemas.openxmlformats.org/officeDocument/2006/relationships/image" Target="../media/image36.png"/><Relationship Id="rId33" Type="http://schemas.openxmlformats.org/officeDocument/2006/relationships/image" Target="../media/image44.tiff"/><Relationship Id="rId38" Type="http://schemas.openxmlformats.org/officeDocument/2006/relationships/image" Target="../media/image49.png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56.png"/><Relationship Id="rId3" Type="http://schemas.openxmlformats.org/officeDocument/2006/relationships/oleObject" Target="../embeddings/oleObject3.bin"/><Relationship Id="rId7" Type="http://schemas.openxmlformats.org/officeDocument/2006/relationships/image" Target="../media/image55.png"/><Relationship Id="rId2" Type="http://schemas.openxmlformats.org/officeDocument/2006/relationships/slideLayout" Target="../slideLayouts/slideLayout15.xml"/><Relationship Id="rId1" Type="http://schemas.openxmlformats.org/officeDocument/2006/relationships/tags" Target="../tags/tag4.xml"/><Relationship Id="rId6" Type="http://schemas.openxmlformats.org/officeDocument/2006/relationships/image" Target="../media/image3.png"/><Relationship Id="rId5" Type="http://schemas.openxmlformats.org/officeDocument/2006/relationships/image" Target="../media/image54.png"/><Relationship Id="rId10" Type="http://schemas.openxmlformats.org/officeDocument/2006/relationships/image" Target="../media/image58.png"/><Relationship Id="rId4" Type="http://schemas.openxmlformats.org/officeDocument/2006/relationships/image" Target="../media/image53.emf"/><Relationship Id="rId9" Type="http://schemas.openxmlformats.org/officeDocument/2006/relationships/image" Target="../media/image57.jpe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4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5" Type="http://schemas.openxmlformats.org/officeDocument/2006/relationships/image" Target="../media/image60.png"/><Relationship Id="rId4" Type="http://schemas.openxmlformats.org/officeDocument/2006/relationships/image" Target="../media/image59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svg"/><Relationship Id="rId7" Type="http://schemas.openxmlformats.org/officeDocument/2006/relationships/image" Target="../media/image66.svg"/><Relationship Id="rId2" Type="http://schemas.openxmlformats.org/officeDocument/2006/relationships/image" Target="../media/image61.png"/><Relationship Id="rId1" Type="http://schemas.openxmlformats.org/officeDocument/2006/relationships/slideLayout" Target="../slideLayouts/slideLayout16.xml"/><Relationship Id="rId6" Type="http://schemas.openxmlformats.org/officeDocument/2006/relationships/image" Target="../media/image65.png"/><Relationship Id="rId5" Type="http://schemas.openxmlformats.org/officeDocument/2006/relationships/image" Target="../media/image64.svg"/><Relationship Id="rId4" Type="http://schemas.openxmlformats.org/officeDocument/2006/relationships/image" Target="../media/image63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FACDC6C5-BC6C-4BBA-B1AB-F428042D3F4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ACDC6C5-BC6C-4BBA-B1AB-F428042D3F4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ubtitle 5">
            <a:extLst>
              <a:ext uri="{FF2B5EF4-FFF2-40B4-BE49-F238E27FC236}">
                <a16:creationId xmlns:a16="http://schemas.microsoft.com/office/drawing/2014/main" id="{C60DAEAC-4470-472C-91D1-72C14E0D597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-56343" y="5825483"/>
            <a:ext cx="3751868" cy="925125"/>
          </a:xfrm>
        </p:spPr>
        <p:txBody>
          <a:bodyPr vert="horz" wrap="square" lIns="91440" tIns="45720" rIns="91440" bIns="45720" rtlCol="0" anchor="t">
            <a:spAutoFit/>
          </a:bodyPr>
          <a:lstStyle/>
          <a:p>
            <a:pPr>
              <a:buNone/>
            </a:pPr>
            <a:r>
              <a:rPr lang="en-US"/>
              <a:t>Roma, </a:t>
            </a:r>
          </a:p>
          <a:p>
            <a:pPr>
              <a:buNone/>
            </a:pPr>
            <a:r>
              <a:rPr lang="en-US"/>
              <a:t>29 </a:t>
            </a:r>
            <a:r>
              <a:rPr lang="en-US" err="1"/>
              <a:t>gennaio</a:t>
            </a:r>
            <a:r>
              <a:rPr lang="en-US"/>
              <a:t> 2026</a:t>
            </a:r>
          </a:p>
          <a:p>
            <a:endParaRPr lang="en-US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F989FC93-D536-44F0-AEB7-275CD5A5ABF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13574" y="4329548"/>
            <a:ext cx="10991592" cy="1315040"/>
          </a:xfrm>
        </p:spPr>
        <p:txBody>
          <a:bodyPr vert="horz" wrap="square" lIns="91440" tIns="45720" rIns="91440" bIns="45720" anchor="t">
            <a:spAutoFit/>
          </a:bodyPr>
          <a:lstStyle/>
          <a:p>
            <a:r>
              <a:rPr lang="it-IT" sz="4400" dirty="0"/>
              <a:t>CANDIDATURA di CAPTURESTE </a:t>
            </a:r>
            <a:r>
              <a:rPr lang="it-IT" sz="4400" dirty="0" err="1"/>
              <a:t>all’innovation</a:t>
            </a:r>
            <a:r>
              <a:rPr lang="it-IT" sz="4400" dirty="0"/>
              <a:t> fund</a:t>
            </a:r>
            <a:endParaRPr lang="en-US" sz="4400" dirty="0"/>
          </a:p>
        </p:txBody>
      </p:sp>
      <p:pic>
        <p:nvPicPr>
          <p:cNvPr id="4" name="Image 2">
            <a:extLst>
              <a:ext uri="{FF2B5EF4-FFF2-40B4-BE49-F238E27FC236}">
                <a16:creationId xmlns:a16="http://schemas.microsoft.com/office/drawing/2014/main" id="{99DCD85B-06DA-611E-BB40-4A78942F4479}"/>
              </a:ext>
            </a:extLst>
          </p:cNvPr>
          <p:cNvPicPr>
            <a:picLocks noChangeAspect="1"/>
          </p:cNvPicPr>
          <p:nvPr/>
        </p:nvPicPr>
        <p:blipFill>
          <a:blip r:embed="rId6" cstate="print"/>
          <a:stretch>
            <a:fillRect/>
          </a:stretch>
        </p:blipFill>
        <p:spPr>
          <a:xfrm>
            <a:off x="7190971" y="189949"/>
            <a:ext cx="4673226" cy="972089"/>
          </a:xfrm>
          <a:prstGeom prst="rect">
            <a:avLst/>
          </a:prstGeom>
        </p:spPr>
      </p:pic>
      <p:sp>
        <p:nvSpPr>
          <p:cNvPr id="7" name="Rettangolo 6">
            <a:extLst>
              <a:ext uri="{FF2B5EF4-FFF2-40B4-BE49-F238E27FC236}">
                <a16:creationId xmlns:a16="http://schemas.microsoft.com/office/drawing/2014/main" id="{E96DD12B-09B7-DCDC-D4D8-1DEA1B26041F}"/>
              </a:ext>
            </a:extLst>
          </p:cNvPr>
          <p:cNvSpPr/>
          <p:nvPr/>
        </p:nvSpPr>
        <p:spPr>
          <a:xfrm>
            <a:off x="11307097" y="5987483"/>
            <a:ext cx="875071" cy="76312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pic>
        <p:nvPicPr>
          <p:cNvPr id="3" name="Picture 2" descr="Inforegio - Download centre for visual elements">
            <a:extLst>
              <a:ext uri="{FF2B5EF4-FFF2-40B4-BE49-F238E27FC236}">
                <a16:creationId xmlns:a16="http://schemas.microsoft.com/office/drawing/2014/main" id="{B68561FB-CD0D-C1E0-9B40-20A296EF590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07105" y="6126045"/>
            <a:ext cx="1542857" cy="324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8733720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14517E6-2402-AB8D-1C25-46D010D1B84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asellaDiTesto 14">
            <a:extLst>
              <a:ext uri="{FF2B5EF4-FFF2-40B4-BE49-F238E27FC236}">
                <a16:creationId xmlns:a16="http://schemas.microsoft.com/office/drawing/2014/main" id="{4FAEE216-EAE8-ED81-2E53-323B31745001}"/>
              </a:ext>
            </a:extLst>
          </p:cNvPr>
          <p:cNvSpPr txBox="1"/>
          <p:nvPr/>
        </p:nvSpPr>
        <p:spPr>
          <a:xfrm>
            <a:off x="875472" y="1126381"/>
            <a:ext cx="10004195" cy="286232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it-IT" sz="6000" dirty="0">
                <a:solidFill>
                  <a:srgbClr val="32837D"/>
                </a:solidFill>
                <a:latin typeface="Bahnschrift Light SemiCondensed" panose="020B0502040204020203" pitchFamily="34" charset="0"/>
                <a:sym typeface="Wingdings" panose="05000000000000000000" pitchFamily="2" charset="2"/>
              </a:rPr>
              <a:t>3.</a:t>
            </a:r>
          </a:p>
          <a:p>
            <a:r>
              <a:rPr lang="en-US" sz="6000" dirty="0">
                <a:solidFill>
                  <a:srgbClr val="32837D"/>
                </a:solidFill>
                <a:latin typeface="Bahnschrift Light SemiCondensed" panose="020B0502040204020203" pitchFamily="34" charset="0"/>
                <a:sym typeface="Wingdings" panose="05000000000000000000" pitchFamily="2" charset="2"/>
              </a:rPr>
              <a:t>Commitment per Application </a:t>
            </a:r>
            <a:r>
              <a:rPr lang="en-US" sz="6000" dirty="0" err="1">
                <a:solidFill>
                  <a:srgbClr val="32837D"/>
                </a:solidFill>
                <a:latin typeface="Bahnschrift Light SemiCondensed" panose="020B0502040204020203" pitchFamily="34" charset="0"/>
                <a:sym typeface="Wingdings" panose="05000000000000000000" pitchFamily="2" charset="2"/>
              </a:rPr>
              <a:t>all’Innovation</a:t>
            </a:r>
            <a:r>
              <a:rPr lang="en-US" sz="6000" dirty="0">
                <a:solidFill>
                  <a:srgbClr val="32837D"/>
                </a:solidFill>
                <a:latin typeface="Bahnschrift Light SemiCondensed" panose="020B0502040204020203" pitchFamily="34" charset="0"/>
                <a:sym typeface="Wingdings" panose="05000000000000000000" pitchFamily="2" charset="2"/>
              </a:rPr>
              <a:t> Fund</a:t>
            </a:r>
          </a:p>
        </p:txBody>
      </p:sp>
    </p:spTree>
    <p:extLst>
      <p:ext uri="{BB962C8B-B14F-4D97-AF65-F5344CB8AC3E}">
        <p14:creationId xmlns:p14="http://schemas.microsoft.com/office/powerpoint/2010/main" val="176698824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asellaDiTesto 1">
            <a:extLst>
              <a:ext uri="{FF2B5EF4-FFF2-40B4-BE49-F238E27FC236}">
                <a16:creationId xmlns:a16="http://schemas.microsoft.com/office/drawing/2014/main" id="{229812A7-D2AC-D1F8-0BEE-D11DBCAF442C}"/>
              </a:ext>
            </a:extLst>
          </p:cNvPr>
          <p:cNvSpPr txBox="1"/>
          <p:nvPr/>
        </p:nvSpPr>
        <p:spPr>
          <a:xfrm>
            <a:off x="127038" y="126000"/>
            <a:ext cx="11450061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3200" dirty="0">
                <a:solidFill>
                  <a:srgbClr val="30636E"/>
                </a:solidFill>
                <a:latin typeface="Bahnschrift Light SemiCondensed" panose="020B0502040204020203" pitchFamily="34" charset="0"/>
              </a:rPr>
              <a:t>Fase di candidatura: documentazione e risorse coinvolte</a:t>
            </a:r>
          </a:p>
        </p:txBody>
      </p:sp>
      <p:grpSp>
        <p:nvGrpSpPr>
          <p:cNvPr id="14" name="bcgIconsWhite_Subscription">
            <a:extLst>
              <a:ext uri="{FF2B5EF4-FFF2-40B4-BE49-F238E27FC236}">
                <a16:creationId xmlns:a16="http://schemas.microsoft.com/office/drawing/2014/main" id="{47A979E9-6784-F1E8-534D-E4F7A998A9DC}"/>
              </a:ext>
            </a:extLst>
          </p:cNvPr>
          <p:cNvGrpSpPr>
            <a:grpSpLocks noChangeAspect="1"/>
          </p:cNvGrpSpPr>
          <p:nvPr/>
        </p:nvGrpSpPr>
        <p:grpSpPr>
          <a:xfrm>
            <a:off x="1827396" y="922707"/>
            <a:ext cx="606221" cy="606221"/>
            <a:chOff x="5273675" y="2605088"/>
            <a:chExt cx="1646238" cy="1646237"/>
          </a:xfrm>
        </p:grpSpPr>
        <p:sp>
          <p:nvSpPr>
            <p:cNvPr id="15" name="AutoShape 14">
              <a:extLst>
                <a:ext uri="{FF2B5EF4-FFF2-40B4-BE49-F238E27FC236}">
                  <a16:creationId xmlns:a16="http://schemas.microsoft.com/office/drawing/2014/main" id="{753F14F2-48CA-AE9C-5C38-7336AAF81B77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5273675" y="2605088"/>
              <a:ext cx="1646238" cy="16462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" name="Freeform 9">
              <a:extLst>
                <a:ext uri="{FF2B5EF4-FFF2-40B4-BE49-F238E27FC236}">
                  <a16:creationId xmlns:a16="http://schemas.microsoft.com/office/drawing/2014/main" id="{A7DE3B22-F5E6-0279-63A1-1B967EAD492B}"/>
                </a:ext>
              </a:extLst>
            </p:cNvPr>
            <p:cNvSpPr>
              <a:spLocks/>
            </p:cNvSpPr>
            <p:nvPr/>
          </p:nvSpPr>
          <p:spPr bwMode="auto">
            <a:xfrm>
              <a:off x="5483225" y="2776538"/>
              <a:ext cx="1228725" cy="1303337"/>
            </a:xfrm>
            <a:custGeom>
              <a:avLst/>
              <a:gdLst>
                <a:gd name="connsiteX0" fmla="*/ 742988 w 1228725"/>
                <a:gd name="connsiteY0" fmla="*/ 839787 h 1303337"/>
                <a:gd name="connsiteX1" fmla="*/ 1144587 w 1228725"/>
                <a:gd name="connsiteY1" fmla="*/ 1243012 h 1303337"/>
                <a:gd name="connsiteX2" fmla="*/ 84137 w 1228725"/>
                <a:gd name="connsiteY2" fmla="*/ 1243012 h 1303337"/>
                <a:gd name="connsiteX3" fmla="*/ 485022 w 1228725"/>
                <a:gd name="connsiteY3" fmla="*/ 840503 h 1303337"/>
                <a:gd name="connsiteX4" fmla="*/ 596498 w 1228725"/>
                <a:gd name="connsiteY4" fmla="*/ 929313 h 1303337"/>
                <a:gd name="connsiteX5" fmla="*/ 612933 w 1228725"/>
                <a:gd name="connsiteY5" fmla="*/ 935043 h 1303337"/>
                <a:gd name="connsiteX6" fmla="*/ 628654 w 1228725"/>
                <a:gd name="connsiteY6" fmla="*/ 929313 h 1303337"/>
                <a:gd name="connsiteX7" fmla="*/ 742988 w 1228725"/>
                <a:gd name="connsiteY7" fmla="*/ 839787 h 1303337"/>
                <a:gd name="connsiteX8" fmla="*/ 355419 w 1228725"/>
                <a:gd name="connsiteY8" fmla="*/ 544512 h 1303337"/>
                <a:gd name="connsiteX9" fmla="*/ 873307 w 1228725"/>
                <a:gd name="connsiteY9" fmla="*/ 544512 h 1303337"/>
                <a:gd name="connsiteX10" fmla="*/ 889000 w 1228725"/>
                <a:gd name="connsiteY10" fmla="*/ 558800 h 1303337"/>
                <a:gd name="connsiteX11" fmla="*/ 873307 w 1228725"/>
                <a:gd name="connsiteY11" fmla="*/ 573087 h 1303337"/>
                <a:gd name="connsiteX12" fmla="*/ 355419 w 1228725"/>
                <a:gd name="connsiteY12" fmla="*/ 573087 h 1303337"/>
                <a:gd name="connsiteX13" fmla="*/ 339725 w 1228725"/>
                <a:gd name="connsiteY13" fmla="*/ 558800 h 1303337"/>
                <a:gd name="connsiteX14" fmla="*/ 355419 w 1228725"/>
                <a:gd name="connsiteY14" fmla="*/ 544512 h 1303337"/>
                <a:gd name="connsiteX15" fmla="*/ 355419 w 1228725"/>
                <a:gd name="connsiteY15" fmla="*/ 433387 h 1303337"/>
                <a:gd name="connsiteX16" fmla="*/ 873307 w 1228725"/>
                <a:gd name="connsiteY16" fmla="*/ 433387 h 1303337"/>
                <a:gd name="connsiteX17" fmla="*/ 889000 w 1228725"/>
                <a:gd name="connsiteY17" fmla="*/ 449631 h 1303337"/>
                <a:gd name="connsiteX18" fmla="*/ 873307 w 1228725"/>
                <a:gd name="connsiteY18" fmla="*/ 465137 h 1303337"/>
                <a:gd name="connsiteX19" fmla="*/ 355419 w 1228725"/>
                <a:gd name="connsiteY19" fmla="*/ 465137 h 1303337"/>
                <a:gd name="connsiteX20" fmla="*/ 339725 w 1228725"/>
                <a:gd name="connsiteY20" fmla="*/ 449631 h 1303337"/>
                <a:gd name="connsiteX21" fmla="*/ 355419 w 1228725"/>
                <a:gd name="connsiteY21" fmla="*/ 433387 h 1303337"/>
                <a:gd name="connsiteX22" fmla="*/ 141287 w 1228725"/>
                <a:gd name="connsiteY22" fmla="*/ 430212 h 1303337"/>
                <a:gd name="connsiteX23" fmla="*/ 139700 w 1228725"/>
                <a:gd name="connsiteY23" fmla="*/ 571500 h 1303337"/>
                <a:gd name="connsiteX24" fmla="*/ 139700 w 1228725"/>
                <a:gd name="connsiteY24" fmla="*/ 573087 h 1303337"/>
                <a:gd name="connsiteX25" fmla="*/ 142875 w 1228725"/>
                <a:gd name="connsiteY25" fmla="*/ 573087 h 1303337"/>
                <a:gd name="connsiteX26" fmla="*/ 173037 w 1228725"/>
                <a:gd name="connsiteY26" fmla="*/ 596900 h 1303337"/>
                <a:gd name="connsiteX27" fmla="*/ 184150 w 1228725"/>
                <a:gd name="connsiteY27" fmla="*/ 604837 h 1303337"/>
                <a:gd name="connsiteX28" fmla="*/ 204787 w 1228725"/>
                <a:gd name="connsiteY28" fmla="*/ 623887 h 1303337"/>
                <a:gd name="connsiteX29" fmla="*/ 460375 w 1228725"/>
                <a:gd name="connsiteY29" fmla="*/ 822324 h 1303337"/>
                <a:gd name="connsiteX30" fmla="*/ 61912 w 1228725"/>
                <a:gd name="connsiteY30" fmla="*/ 1219199 h 1303337"/>
                <a:gd name="connsiteX31" fmla="*/ 61912 w 1228725"/>
                <a:gd name="connsiteY31" fmla="*/ 473075 h 1303337"/>
                <a:gd name="connsiteX32" fmla="*/ 1087438 w 1228725"/>
                <a:gd name="connsiteY32" fmla="*/ 428625 h 1303337"/>
                <a:gd name="connsiteX33" fmla="*/ 1168400 w 1228725"/>
                <a:gd name="connsiteY33" fmla="*/ 473075 h 1303337"/>
                <a:gd name="connsiteX34" fmla="*/ 1168400 w 1228725"/>
                <a:gd name="connsiteY34" fmla="*/ 1219200 h 1303337"/>
                <a:gd name="connsiteX35" fmla="*/ 766762 w 1228725"/>
                <a:gd name="connsiteY35" fmla="*/ 819150 h 1303337"/>
                <a:gd name="connsiteX36" fmla="*/ 1025525 w 1228725"/>
                <a:gd name="connsiteY36" fmla="*/ 620713 h 1303337"/>
                <a:gd name="connsiteX37" fmla="*/ 1041400 w 1228725"/>
                <a:gd name="connsiteY37" fmla="*/ 608013 h 1303337"/>
                <a:gd name="connsiteX38" fmla="*/ 1057275 w 1228725"/>
                <a:gd name="connsiteY38" fmla="*/ 595313 h 1303337"/>
                <a:gd name="connsiteX39" fmla="*/ 1085850 w 1228725"/>
                <a:gd name="connsiteY39" fmla="*/ 573088 h 1303337"/>
                <a:gd name="connsiteX40" fmla="*/ 355419 w 1228725"/>
                <a:gd name="connsiteY40" fmla="*/ 322262 h 1303337"/>
                <a:gd name="connsiteX41" fmla="*/ 873307 w 1228725"/>
                <a:gd name="connsiteY41" fmla="*/ 322262 h 1303337"/>
                <a:gd name="connsiteX42" fmla="*/ 889000 w 1228725"/>
                <a:gd name="connsiteY42" fmla="*/ 338137 h 1303337"/>
                <a:gd name="connsiteX43" fmla="*/ 873307 w 1228725"/>
                <a:gd name="connsiteY43" fmla="*/ 354012 h 1303337"/>
                <a:gd name="connsiteX44" fmla="*/ 355419 w 1228725"/>
                <a:gd name="connsiteY44" fmla="*/ 354012 h 1303337"/>
                <a:gd name="connsiteX45" fmla="*/ 339725 w 1228725"/>
                <a:gd name="connsiteY45" fmla="*/ 338137 h 1303337"/>
                <a:gd name="connsiteX46" fmla="*/ 355419 w 1228725"/>
                <a:gd name="connsiteY46" fmla="*/ 322262 h 1303337"/>
                <a:gd name="connsiteX47" fmla="*/ 496037 w 1228725"/>
                <a:gd name="connsiteY47" fmla="*/ 173037 h 1303337"/>
                <a:gd name="connsiteX48" fmla="*/ 733562 w 1228725"/>
                <a:gd name="connsiteY48" fmla="*/ 173037 h 1303337"/>
                <a:gd name="connsiteX49" fmla="*/ 749301 w 1228725"/>
                <a:gd name="connsiteY49" fmla="*/ 188118 h 1303337"/>
                <a:gd name="connsiteX50" fmla="*/ 733562 w 1228725"/>
                <a:gd name="connsiteY50" fmla="*/ 203199 h 1303337"/>
                <a:gd name="connsiteX51" fmla="*/ 496037 w 1228725"/>
                <a:gd name="connsiteY51" fmla="*/ 203199 h 1303337"/>
                <a:gd name="connsiteX52" fmla="*/ 481013 w 1228725"/>
                <a:gd name="connsiteY52" fmla="*/ 188118 h 1303337"/>
                <a:gd name="connsiteX53" fmla="*/ 496037 w 1228725"/>
                <a:gd name="connsiteY53" fmla="*/ 173037 h 1303337"/>
                <a:gd name="connsiteX54" fmla="*/ 205249 w 1228725"/>
                <a:gd name="connsiteY54" fmla="*/ 31750 h 1303337"/>
                <a:gd name="connsiteX55" fmla="*/ 205249 w 1228725"/>
                <a:gd name="connsiteY55" fmla="*/ 583106 h 1303337"/>
                <a:gd name="connsiteX56" fmla="*/ 203107 w 1228725"/>
                <a:gd name="connsiteY56" fmla="*/ 580964 h 1303337"/>
                <a:gd name="connsiteX57" fmla="*/ 173833 w 1228725"/>
                <a:gd name="connsiteY57" fmla="*/ 558110 h 1303337"/>
                <a:gd name="connsiteX58" fmla="*/ 173833 w 1228725"/>
                <a:gd name="connsiteY58" fmla="*/ 375991 h 1303337"/>
                <a:gd name="connsiteX59" fmla="*/ 61738 w 1228725"/>
                <a:gd name="connsiteY59" fmla="*/ 436697 h 1303337"/>
                <a:gd name="connsiteX60" fmla="*/ 48172 w 1228725"/>
                <a:gd name="connsiteY60" fmla="*/ 444553 h 1303337"/>
                <a:gd name="connsiteX61" fmla="*/ 31750 w 1228725"/>
                <a:gd name="connsiteY61" fmla="*/ 453123 h 1303337"/>
                <a:gd name="connsiteX62" fmla="*/ 31750 w 1228725"/>
                <a:gd name="connsiteY62" fmla="*/ 1271587 h 1303337"/>
                <a:gd name="connsiteX63" fmla="*/ 63166 w 1228725"/>
                <a:gd name="connsiteY63" fmla="*/ 1271587 h 1303337"/>
                <a:gd name="connsiteX64" fmla="*/ 1165560 w 1228725"/>
                <a:gd name="connsiteY64" fmla="*/ 1271587 h 1303337"/>
                <a:gd name="connsiteX65" fmla="*/ 1196975 w 1228725"/>
                <a:gd name="connsiteY65" fmla="*/ 1271587 h 1303337"/>
                <a:gd name="connsiteX66" fmla="*/ 1196975 w 1228725"/>
                <a:gd name="connsiteY66" fmla="*/ 453123 h 1303337"/>
                <a:gd name="connsiteX67" fmla="*/ 1192691 w 1228725"/>
                <a:gd name="connsiteY67" fmla="*/ 450981 h 1303337"/>
                <a:gd name="connsiteX68" fmla="*/ 1054892 w 1228725"/>
                <a:gd name="connsiteY68" fmla="*/ 373848 h 1303337"/>
                <a:gd name="connsiteX69" fmla="*/ 1054892 w 1228725"/>
                <a:gd name="connsiteY69" fmla="*/ 383133 h 1303337"/>
                <a:gd name="connsiteX70" fmla="*/ 1054178 w 1228725"/>
                <a:gd name="connsiteY70" fmla="*/ 428127 h 1303337"/>
                <a:gd name="connsiteX71" fmla="*/ 1052750 w 1228725"/>
                <a:gd name="connsiteY71" fmla="*/ 557395 h 1303337"/>
                <a:gd name="connsiteX72" fmla="*/ 1023477 w 1228725"/>
                <a:gd name="connsiteY72" fmla="*/ 580249 h 1303337"/>
                <a:gd name="connsiteX73" fmla="*/ 1023477 w 1228725"/>
                <a:gd name="connsiteY73" fmla="*/ 347423 h 1303337"/>
                <a:gd name="connsiteX74" fmla="*/ 1023477 w 1228725"/>
                <a:gd name="connsiteY74" fmla="*/ 31750 h 1303337"/>
                <a:gd name="connsiteX75" fmla="*/ 205249 w 1228725"/>
                <a:gd name="connsiteY75" fmla="*/ 31750 h 1303337"/>
                <a:gd name="connsiteX76" fmla="*/ 189310 w 1228725"/>
                <a:gd name="connsiteY76" fmla="*/ 0 h 1303337"/>
                <a:gd name="connsiteX77" fmla="*/ 1039416 w 1228725"/>
                <a:gd name="connsiteY77" fmla="*/ 0 h 1303337"/>
                <a:gd name="connsiteX78" fmla="*/ 1055132 w 1228725"/>
                <a:gd name="connsiteY78" fmla="*/ 15720 h 1303337"/>
                <a:gd name="connsiteX79" fmla="*/ 1055132 w 1228725"/>
                <a:gd name="connsiteY79" fmla="*/ 337982 h 1303337"/>
                <a:gd name="connsiteX80" fmla="*/ 1220867 w 1228725"/>
                <a:gd name="connsiteY80" fmla="*/ 430159 h 1303337"/>
                <a:gd name="connsiteX81" fmla="*/ 1228725 w 1228725"/>
                <a:gd name="connsiteY81" fmla="*/ 443735 h 1303337"/>
                <a:gd name="connsiteX82" fmla="*/ 1228725 w 1228725"/>
                <a:gd name="connsiteY82" fmla="*/ 1287617 h 1303337"/>
                <a:gd name="connsiteX83" fmla="*/ 1213009 w 1228725"/>
                <a:gd name="connsiteY83" fmla="*/ 1303337 h 1303337"/>
                <a:gd name="connsiteX84" fmla="*/ 15716 w 1228725"/>
                <a:gd name="connsiteY84" fmla="*/ 1303337 h 1303337"/>
                <a:gd name="connsiteX85" fmla="*/ 0 w 1228725"/>
                <a:gd name="connsiteY85" fmla="*/ 1287617 h 1303337"/>
                <a:gd name="connsiteX86" fmla="*/ 0 w 1228725"/>
                <a:gd name="connsiteY86" fmla="*/ 443735 h 1303337"/>
                <a:gd name="connsiteX87" fmla="*/ 7858 w 1228725"/>
                <a:gd name="connsiteY87" fmla="*/ 430159 h 1303337"/>
                <a:gd name="connsiteX88" fmla="*/ 173593 w 1228725"/>
                <a:gd name="connsiteY88" fmla="*/ 340125 h 1303337"/>
                <a:gd name="connsiteX89" fmla="*/ 173593 w 1228725"/>
                <a:gd name="connsiteY89" fmla="*/ 15720 h 1303337"/>
                <a:gd name="connsiteX90" fmla="*/ 189310 w 1228725"/>
                <a:gd name="connsiteY90" fmla="*/ 0 h 13033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</a:cxnLst>
              <a:rect l="l" t="t" r="r" b="b"/>
              <a:pathLst>
                <a:path w="1228725" h="1303337">
                  <a:moveTo>
                    <a:pt x="742988" y="839787"/>
                  </a:moveTo>
                  <a:cubicBezTo>
                    <a:pt x="742988" y="839787"/>
                    <a:pt x="742988" y="839787"/>
                    <a:pt x="1144587" y="1243012"/>
                  </a:cubicBezTo>
                  <a:cubicBezTo>
                    <a:pt x="1144587" y="1243012"/>
                    <a:pt x="1144587" y="1243012"/>
                    <a:pt x="84137" y="1243012"/>
                  </a:cubicBezTo>
                  <a:cubicBezTo>
                    <a:pt x="84137" y="1243012"/>
                    <a:pt x="84137" y="1243012"/>
                    <a:pt x="485022" y="840503"/>
                  </a:cubicBezTo>
                  <a:cubicBezTo>
                    <a:pt x="485022" y="840503"/>
                    <a:pt x="485022" y="840503"/>
                    <a:pt x="596498" y="929313"/>
                  </a:cubicBezTo>
                  <a:cubicBezTo>
                    <a:pt x="601500" y="932894"/>
                    <a:pt x="606502" y="935043"/>
                    <a:pt x="612933" y="935043"/>
                  </a:cubicBezTo>
                  <a:cubicBezTo>
                    <a:pt x="618650" y="935043"/>
                    <a:pt x="624366" y="932894"/>
                    <a:pt x="628654" y="929313"/>
                  </a:cubicBezTo>
                  <a:cubicBezTo>
                    <a:pt x="628654" y="929313"/>
                    <a:pt x="628654" y="929313"/>
                    <a:pt x="742988" y="839787"/>
                  </a:cubicBezTo>
                  <a:close/>
                  <a:moveTo>
                    <a:pt x="355419" y="544512"/>
                  </a:moveTo>
                  <a:cubicBezTo>
                    <a:pt x="355419" y="544512"/>
                    <a:pt x="355419" y="544512"/>
                    <a:pt x="873307" y="544512"/>
                  </a:cubicBezTo>
                  <a:cubicBezTo>
                    <a:pt x="882580" y="544512"/>
                    <a:pt x="889000" y="550635"/>
                    <a:pt x="889000" y="558800"/>
                  </a:cubicBezTo>
                  <a:cubicBezTo>
                    <a:pt x="889000" y="566964"/>
                    <a:pt x="882580" y="573087"/>
                    <a:pt x="873307" y="573087"/>
                  </a:cubicBezTo>
                  <a:cubicBezTo>
                    <a:pt x="873307" y="573087"/>
                    <a:pt x="873307" y="573087"/>
                    <a:pt x="355419" y="573087"/>
                  </a:cubicBezTo>
                  <a:cubicBezTo>
                    <a:pt x="346145" y="573087"/>
                    <a:pt x="339725" y="566964"/>
                    <a:pt x="339725" y="558800"/>
                  </a:cubicBezTo>
                  <a:cubicBezTo>
                    <a:pt x="339725" y="550635"/>
                    <a:pt x="346145" y="544512"/>
                    <a:pt x="355419" y="544512"/>
                  </a:cubicBezTo>
                  <a:close/>
                  <a:moveTo>
                    <a:pt x="355419" y="433387"/>
                  </a:moveTo>
                  <a:cubicBezTo>
                    <a:pt x="355419" y="433387"/>
                    <a:pt x="355419" y="433387"/>
                    <a:pt x="873307" y="433387"/>
                  </a:cubicBezTo>
                  <a:cubicBezTo>
                    <a:pt x="882580" y="433387"/>
                    <a:pt x="889000" y="440771"/>
                    <a:pt x="889000" y="449631"/>
                  </a:cubicBezTo>
                  <a:cubicBezTo>
                    <a:pt x="889000" y="457753"/>
                    <a:pt x="882580" y="465137"/>
                    <a:pt x="873307" y="465137"/>
                  </a:cubicBezTo>
                  <a:cubicBezTo>
                    <a:pt x="873307" y="465137"/>
                    <a:pt x="873307" y="465137"/>
                    <a:pt x="355419" y="465137"/>
                  </a:cubicBezTo>
                  <a:cubicBezTo>
                    <a:pt x="346145" y="465137"/>
                    <a:pt x="339725" y="457753"/>
                    <a:pt x="339725" y="449631"/>
                  </a:cubicBezTo>
                  <a:cubicBezTo>
                    <a:pt x="339725" y="440771"/>
                    <a:pt x="346145" y="433387"/>
                    <a:pt x="355419" y="433387"/>
                  </a:cubicBezTo>
                  <a:close/>
                  <a:moveTo>
                    <a:pt x="141287" y="430212"/>
                  </a:moveTo>
                  <a:lnTo>
                    <a:pt x="139700" y="571500"/>
                  </a:lnTo>
                  <a:lnTo>
                    <a:pt x="139700" y="573087"/>
                  </a:lnTo>
                  <a:lnTo>
                    <a:pt x="142875" y="573087"/>
                  </a:lnTo>
                  <a:lnTo>
                    <a:pt x="173037" y="596900"/>
                  </a:lnTo>
                  <a:lnTo>
                    <a:pt x="184150" y="604837"/>
                  </a:lnTo>
                  <a:lnTo>
                    <a:pt x="204787" y="623887"/>
                  </a:lnTo>
                  <a:lnTo>
                    <a:pt x="460375" y="822324"/>
                  </a:lnTo>
                  <a:lnTo>
                    <a:pt x="61912" y="1219199"/>
                  </a:lnTo>
                  <a:lnTo>
                    <a:pt x="61912" y="473075"/>
                  </a:lnTo>
                  <a:close/>
                  <a:moveTo>
                    <a:pt x="1087438" y="428625"/>
                  </a:moveTo>
                  <a:lnTo>
                    <a:pt x="1168400" y="473075"/>
                  </a:lnTo>
                  <a:lnTo>
                    <a:pt x="1168400" y="1219200"/>
                  </a:lnTo>
                  <a:lnTo>
                    <a:pt x="766762" y="819150"/>
                  </a:lnTo>
                  <a:lnTo>
                    <a:pt x="1025525" y="620713"/>
                  </a:lnTo>
                  <a:lnTo>
                    <a:pt x="1041400" y="608013"/>
                  </a:lnTo>
                  <a:lnTo>
                    <a:pt x="1057275" y="595313"/>
                  </a:lnTo>
                  <a:lnTo>
                    <a:pt x="1085850" y="573088"/>
                  </a:lnTo>
                  <a:close/>
                  <a:moveTo>
                    <a:pt x="355419" y="322262"/>
                  </a:moveTo>
                  <a:cubicBezTo>
                    <a:pt x="355419" y="322262"/>
                    <a:pt x="355419" y="322262"/>
                    <a:pt x="873307" y="322262"/>
                  </a:cubicBezTo>
                  <a:cubicBezTo>
                    <a:pt x="882580" y="322262"/>
                    <a:pt x="889000" y="329478"/>
                    <a:pt x="889000" y="338137"/>
                  </a:cubicBezTo>
                  <a:cubicBezTo>
                    <a:pt x="889000" y="346796"/>
                    <a:pt x="882580" y="354012"/>
                    <a:pt x="873307" y="354012"/>
                  </a:cubicBezTo>
                  <a:cubicBezTo>
                    <a:pt x="873307" y="354012"/>
                    <a:pt x="873307" y="354012"/>
                    <a:pt x="355419" y="354012"/>
                  </a:cubicBezTo>
                  <a:cubicBezTo>
                    <a:pt x="346145" y="354012"/>
                    <a:pt x="339725" y="346796"/>
                    <a:pt x="339725" y="338137"/>
                  </a:cubicBezTo>
                  <a:cubicBezTo>
                    <a:pt x="339725" y="329478"/>
                    <a:pt x="346145" y="322262"/>
                    <a:pt x="355419" y="322262"/>
                  </a:cubicBezTo>
                  <a:close/>
                  <a:moveTo>
                    <a:pt x="496037" y="173037"/>
                  </a:moveTo>
                  <a:cubicBezTo>
                    <a:pt x="496037" y="173037"/>
                    <a:pt x="496037" y="173037"/>
                    <a:pt x="733562" y="173037"/>
                  </a:cubicBezTo>
                  <a:cubicBezTo>
                    <a:pt x="742147" y="173037"/>
                    <a:pt x="749301" y="179892"/>
                    <a:pt x="749301" y="188118"/>
                  </a:cubicBezTo>
                  <a:cubicBezTo>
                    <a:pt x="749301" y="196344"/>
                    <a:pt x="742147" y="203199"/>
                    <a:pt x="733562" y="203199"/>
                  </a:cubicBezTo>
                  <a:cubicBezTo>
                    <a:pt x="733562" y="203199"/>
                    <a:pt x="733562" y="203199"/>
                    <a:pt x="496037" y="203199"/>
                  </a:cubicBezTo>
                  <a:cubicBezTo>
                    <a:pt x="487452" y="203199"/>
                    <a:pt x="481013" y="196344"/>
                    <a:pt x="481013" y="188118"/>
                  </a:cubicBezTo>
                  <a:cubicBezTo>
                    <a:pt x="481013" y="179892"/>
                    <a:pt x="487452" y="173037"/>
                    <a:pt x="496037" y="173037"/>
                  </a:cubicBezTo>
                  <a:close/>
                  <a:moveTo>
                    <a:pt x="205249" y="31750"/>
                  </a:moveTo>
                  <a:cubicBezTo>
                    <a:pt x="205249" y="31750"/>
                    <a:pt x="205249" y="31750"/>
                    <a:pt x="205249" y="583106"/>
                  </a:cubicBezTo>
                  <a:cubicBezTo>
                    <a:pt x="205249" y="583106"/>
                    <a:pt x="205249" y="583106"/>
                    <a:pt x="203107" y="580964"/>
                  </a:cubicBezTo>
                  <a:cubicBezTo>
                    <a:pt x="203107" y="580964"/>
                    <a:pt x="203107" y="580964"/>
                    <a:pt x="173833" y="558110"/>
                  </a:cubicBezTo>
                  <a:cubicBezTo>
                    <a:pt x="173833" y="558110"/>
                    <a:pt x="173833" y="558110"/>
                    <a:pt x="173833" y="375991"/>
                  </a:cubicBezTo>
                  <a:cubicBezTo>
                    <a:pt x="173833" y="375991"/>
                    <a:pt x="173833" y="375991"/>
                    <a:pt x="61738" y="436697"/>
                  </a:cubicBezTo>
                  <a:cubicBezTo>
                    <a:pt x="61738" y="436697"/>
                    <a:pt x="61738" y="436697"/>
                    <a:pt x="48172" y="444553"/>
                  </a:cubicBezTo>
                  <a:cubicBezTo>
                    <a:pt x="48172" y="444553"/>
                    <a:pt x="48172" y="444553"/>
                    <a:pt x="31750" y="453123"/>
                  </a:cubicBezTo>
                  <a:cubicBezTo>
                    <a:pt x="31750" y="453123"/>
                    <a:pt x="31750" y="453123"/>
                    <a:pt x="31750" y="1271587"/>
                  </a:cubicBezTo>
                  <a:cubicBezTo>
                    <a:pt x="31750" y="1271587"/>
                    <a:pt x="31750" y="1271587"/>
                    <a:pt x="63166" y="1271587"/>
                  </a:cubicBezTo>
                  <a:cubicBezTo>
                    <a:pt x="63166" y="1271587"/>
                    <a:pt x="63166" y="1271587"/>
                    <a:pt x="1165560" y="1271587"/>
                  </a:cubicBezTo>
                  <a:cubicBezTo>
                    <a:pt x="1165560" y="1271587"/>
                    <a:pt x="1165560" y="1271587"/>
                    <a:pt x="1196975" y="1271587"/>
                  </a:cubicBezTo>
                  <a:cubicBezTo>
                    <a:pt x="1196975" y="1271587"/>
                    <a:pt x="1196975" y="1271587"/>
                    <a:pt x="1196975" y="453123"/>
                  </a:cubicBezTo>
                  <a:cubicBezTo>
                    <a:pt x="1196975" y="453123"/>
                    <a:pt x="1196975" y="453123"/>
                    <a:pt x="1192691" y="450981"/>
                  </a:cubicBezTo>
                  <a:cubicBezTo>
                    <a:pt x="1192691" y="450981"/>
                    <a:pt x="1192691" y="450981"/>
                    <a:pt x="1054892" y="373848"/>
                  </a:cubicBezTo>
                  <a:cubicBezTo>
                    <a:pt x="1054892" y="373848"/>
                    <a:pt x="1054892" y="373848"/>
                    <a:pt x="1054892" y="383133"/>
                  </a:cubicBezTo>
                  <a:cubicBezTo>
                    <a:pt x="1054892" y="383133"/>
                    <a:pt x="1054892" y="383133"/>
                    <a:pt x="1054178" y="428127"/>
                  </a:cubicBezTo>
                  <a:cubicBezTo>
                    <a:pt x="1054178" y="428127"/>
                    <a:pt x="1054178" y="428127"/>
                    <a:pt x="1052750" y="557395"/>
                  </a:cubicBezTo>
                  <a:cubicBezTo>
                    <a:pt x="1052750" y="557395"/>
                    <a:pt x="1052750" y="557395"/>
                    <a:pt x="1023477" y="580249"/>
                  </a:cubicBezTo>
                  <a:cubicBezTo>
                    <a:pt x="1023477" y="580249"/>
                    <a:pt x="1023477" y="580249"/>
                    <a:pt x="1023477" y="347423"/>
                  </a:cubicBezTo>
                  <a:cubicBezTo>
                    <a:pt x="1023477" y="347423"/>
                    <a:pt x="1023477" y="347423"/>
                    <a:pt x="1023477" y="31750"/>
                  </a:cubicBezTo>
                  <a:cubicBezTo>
                    <a:pt x="1023477" y="31750"/>
                    <a:pt x="1023477" y="31750"/>
                    <a:pt x="205249" y="31750"/>
                  </a:cubicBezTo>
                  <a:close/>
                  <a:moveTo>
                    <a:pt x="189310" y="0"/>
                  </a:moveTo>
                  <a:cubicBezTo>
                    <a:pt x="189310" y="0"/>
                    <a:pt x="189310" y="0"/>
                    <a:pt x="1039416" y="0"/>
                  </a:cubicBezTo>
                  <a:cubicBezTo>
                    <a:pt x="1047988" y="0"/>
                    <a:pt x="1055132" y="7146"/>
                    <a:pt x="1055132" y="15720"/>
                  </a:cubicBezTo>
                  <a:cubicBezTo>
                    <a:pt x="1055132" y="15720"/>
                    <a:pt x="1055132" y="15720"/>
                    <a:pt x="1055132" y="337982"/>
                  </a:cubicBezTo>
                  <a:cubicBezTo>
                    <a:pt x="1055132" y="337982"/>
                    <a:pt x="1055132" y="337982"/>
                    <a:pt x="1220867" y="430159"/>
                  </a:cubicBezTo>
                  <a:cubicBezTo>
                    <a:pt x="1225868" y="433017"/>
                    <a:pt x="1228725" y="438019"/>
                    <a:pt x="1228725" y="443735"/>
                  </a:cubicBezTo>
                  <a:cubicBezTo>
                    <a:pt x="1228725" y="443735"/>
                    <a:pt x="1228725" y="443735"/>
                    <a:pt x="1228725" y="1287617"/>
                  </a:cubicBezTo>
                  <a:cubicBezTo>
                    <a:pt x="1228725" y="1296192"/>
                    <a:pt x="1222296" y="1303337"/>
                    <a:pt x="1213009" y="1303337"/>
                  </a:cubicBezTo>
                  <a:cubicBezTo>
                    <a:pt x="1213009" y="1303337"/>
                    <a:pt x="1213009" y="1303337"/>
                    <a:pt x="15716" y="1303337"/>
                  </a:cubicBezTo>
                  <a:cubicBezTo>
                    <a:pt x="6430" y="1303337"/>
                    <a:pt x="0" y="1296192"/>
                    <a:pt x="0" y="1287617"/>
                  </a:cubicBezTo>
                  <a:cubicBezTo>
                    <a:pt x="0" y="1287617"/>
                    <a:pt x="0" y="1287617"/>
                    <a:pt x="0" y="443735"/>
                  </a:cubicBezTo>
                  <a:cubicBezTo>
                    <a:pt x="0" y="438019"/>
                    <a:pt x="2858" y="433017"/>
                    <a:pt x="7858" y="430159"/>
                  </a:cubicBezTo>
                  <a:cubicBezTo>
                    <a:pt x="7858" y="430159"/>
                    <a:pt x="7858" y="430159"/>
                    <a:pt x="173593" y="340125"/>
                  </a:cubicBezTo>
                  <a:cubicBezTo>
                    <a:pt x="173593" y="340125"/>
                    <a:pt x="173593" y="340125"/>
                    <a:pt x="173593" y="15720"/>
                  </a:cubicBezTo>
                  <a:cubicBezTo>
                    <a:pt x="173593" y="7146"/>
                    <a:pt x="180737" y="0"/>
                    <a:pt x="189310" y="0"/>
                  </a:cubicBezTo>
                  <a:close/>
                </a:path>
              </a:pathLst>
            </a:custGeom>
            <a:solidFill>
              <a:srgbClr val="00967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>
                <a:latin typeface="Bahnschrift Light SemiCondensed" panose="020B0502040204020203" pitchFamily="34" charset="0"/>
              </a:endParaRPr>
            </a:p>
          </p:txBody>
        </p:sp>
      </p:grpSp>
      <p:sp>
        <p:nvSpPr>
          <p:cNvPr id="29" name="CasellaDiTesto 2">
            <a:extLst>
              <a:ext uri="{FF2B5EF4-FFF2-40B4-BE49-F238E27FC236}">
                <a16:creationId xmlns:a16="http://schemas.microsoft.com/office/drawing/2014/main" id="{A0A04668-A05A-B188-C799-61F7B76AF323}"/>
              </a:ext>
            </a:extLst>
          </p:cNvPr>
          <p:cNvSpPr txBox="1"/>
          <p:nvPr/>
        </p:nvSpPr>
        <p:spPr>
          <a:xfrm>
            <a:off x="2544386" y="922316"/>
            <a:ext cx="190257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b="0" i="0" u="none" strike="noStrike" baseline="0" dirty="0">
                <a:solidFill>
                  <a:srgbClr val="009670"/>
                </a:solidFill>
                <a:latin typeface="Bahnschrift Light SemiCondensed" panose="020B0502040204020203" pitchFamily="34" charset="0"/>
              </a:rPr>
              <a:t>APPLICATION</a:t>
            </a:r>
            <a:endParaRPr lang="it-IT" dirty="0">
              <a:solidFill>
                <a:srgbClr val="009670"/>
              </a:solidFill>
              <a:latin typeface="Bahnschrift Light SemiCondensed" panose="020B0502040204020203" pitchFamily="34" charset="0"/>
            </a:endParaRPr>
          </a:p>
          <a:p>
            <a:r>
              <a:rPr lang="it-IT" b="0" u="none" strike="noStrike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Bahnschrift Light SemiCondensed" panose="020B0502040204020203" pitchFamily="34" charset="0"/>
              </a:rPr>
              <a:t>3 mesi</a:t>
            </a:r>
            <a:endParaRPr lang="it-IT" dirty="0">
              <a:solidFill>
                <a:schemeClr val="tx1">
                  <a:lumMod val="65000"/>
                  <a:lumOff val="35000"/>
                </a:schemeClr>
              </a:solidFill>
              <a:latin typeface="Bahnschrift Light SemiCondensed" panose="020B0502040204020203" pitchFamily="34" charset="0"/>
            </a:endParaRPr>
          </a:p>
        </p:txBody>
      </p:sp>
      <p:sp>
        <p:nvSpPr>
          <p:cNvPr id="32" name="Oval 31">
            <a:extLst>
              <a:ext uri="{FF2B5EF4-FFF2-40B4-BE49-F238E27FC236}">
                <a16:creationId xmlns:a16="http://schemas.microsoft.com/office/drawing/2014/main" id="{EE936F22-04CA-8B48-3307-D28F8A37FC47}"/>
              </a:ext>
            </a:extLst>
          </p:cNvPr>
          <p:cNvSpPr/>
          <p:nvPr/>
        </p:nvSpPr>
        <p:spPr>
          <a:xfrm>
            <a:off x="744189" y="837154"/>
            <a:ext cx="768438" cy="753014"/>
          </a:xfrm>
          <a:prstGeom prst="ellipse">
            <a:avLst/>
          </a:prstGeom>
          <a:solidFill>
            <a:srgbClr val="FFFFFF"/>
          </a:solidFill>
          <a:ln w="38100" cap="flat" cmpd="sng" algn="ctr">
            <a:gradFill flip="none" rotWithShape="1">
              <a:gsLst>
                <a:gs pos="0">
                  <a:srgbClr val="30636E"/>
                </a:gs>
                <a:gs pos="100000">
                  <a:srgbClr val="76C3EA"/>
                </a:gs>
              </a:gsLst>
              <a:lin ang="2700000" scaled="1"/>
              <a:tileRect/>
            </a:gradFill>
            <a:prstDash val="solid"/>
          </a:ln>
          <a:effectLst/>
        </p:spPr>
        <p:txBody>
          <a:bodyPr lIns="0" tIns="0" rIns="0" bIns="0" rtlCol="0" anchor="ctr"/>
          <a:lstStyle/>
          <a:p>
            <a:pPr marL="0" marR="0" lvl="0" indent="0" algn="ctr" defTabSz="91440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000" b="0" i="0" u="none" strike="noStrike" kern="0" cap="none" spc="0" normalizeH="0" baseline="0" noProof="0" dirty="0">
                <a:ln>
                  <a:noFill/>
                </a:ln>
                <a:solidFill>
                  <a:srgbClr val="009670"/>
                </a:solidFill>
                <a:effectLst/>
                <a:uLnTx/>
                <a:uFillTx/>
                <a:latin typeface="Bahnschrift Light SemiCondensed"/>
                <a:ea typeface="+mn-ea"/>
                <a:cs typeface="+mn-cs"/>
              </a:rPr>
              <a:t>46</a:t>
            </a:r>
          </a:p>
        </p:txBody>
      </p:sp>
      <p:sp>
        <p:nvSpPr>
          <p:cNvPr id="33" name="CasellaDiTesto 2">
            <a:extLst>
              <a:ext uri="{FF2B5EF4-FFF2-40B4-BE49-F238E27FC236}">
                <a16:creationId xmlns:a16="http://schemas.microsoft.com/office/drawing/2014/main" id="{C3BB8A2F-1F89-3142-5191-697665ACDBB6}"/>
              </a:ext>
            </a:extLst>
          </p:cNvPr>
          <p:cNvSpPr txBox="1"/>
          <p:nvPr/>
        </p:nvSpPr>
        <p:spPr>
          <a:xfrm>
            <a:off x="625705" y="1991895"/>
            <a:ext cx="3925556" cy="3833875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r>
              <a:rPr lang="it-IT" b="1" i="0" u="none" strike="noStrike" baseline="0" dirty="0">
                <a:solidFill>
                  <a:srgbClr val="40B3AA"/>
                </a:solidFill>
                <a:latin typeface="Bahnschrift Light SemiCondensed" panose="020B0502040204020203" pitchFamily="34" charset="0"/>
              </a:rPr>
              <a:t>11 documenti</a:t>
            </a:r>
            <a:r>
              <a:rPr lang="it-IT" b="0" i="0" u="none" strike="noStrike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Bahnschrift Light SemiCondensed" panose="020B0502040204020203" pitchFamily="34" charset="0"/>
              </a:rPr>
              <a:t> obbligatori da bando</a:t>
            </a:r>
          </a:p>
          <a:p>
            <a:endParaRPr lang="it-IT" b="0" i="0" u="none" strike="noStrike" baseline="0" dirty="0">
              <a:solidFill>
                <a:schemeClr val="tx1">
                  <a:lumMod val="65000"/>
                  <a:lumOff val="35000"/>
                </a:schemeClr>
              </a:solidFill>
              <a:latin typeface="Bahnschrift Light SemiCondensed" panose="020B0502040204020203" pitchFamily="34" charset="0"/>
            </a:endParaRPr>
          </a:p>
          <a:p>
            <a:r>
              <a:rPr lang="it-IT" b="1" i="0" u="none" strike="noStrike" baseline="0" dirty="0">
                <a:solidFill>
                  <a:srgbClr val="40B3AA"/>
                </a:solidFill>
                <a:latin typeface="Bahnschrift Light SemiCondensed" panose="020B0502040204020203" pitchFamily="34" charset="0"/>
              </a:rPr>
              <a:t>35 documenti </a:t>
            </a:r>
            <a:r>
              <a:rPr lang="it-IT" dirty="0">
                <a:solidFill>
                  <a:schemeClr val="tx1">
                    <a:lumMod val="65000"/>
                    <a:lumOff val="35000"/>
                  </a:schemeClr>
                </a:solidFill>
                <a:latin typeface="Bahnschrift Light SemiCondensed" panose="020B0502040204020203" pitchFamily="34" charset="0"/>
              </a:rPr>
              <a:t>a</a:t>
            </a:r>
            <a:r>
              <a:rPr lang="it-IT" b="0" i="0" u="none" strike="noStrike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Bahnschrift Light SemiCondensed" panose="020B0502040204020203" pitchFamily="34" charset="0"/>
              </a:rPr>
              <a:t> supporto, di cui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it-IT" b="1" i="0" u="none" strike="noStrike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Bahnschrift Light SemiCondensed" panose="020B0502040204020203" pitchFamily="34" charset="0"/>
              </a:rPr>
              <a:t>17 Lettere di Supporto/Interesse </a:t>
            </a:r>
            <a:r>
              <a:rPr lang="it-IT" b="0" i="0" u="none" strike="noStrike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Bahnschrift Light SemiCondensed" panose="020B0502040204020203" pitchFamily="34" charset="0"/>
              </a:rPr>
              <a:t>da parte di Autorità nazionali e regionali, Università, organizzazioni pubbliche e sociali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it-IT" b="1" dirty="0">
                <a:solidFill>
                  <a:schemeClr val="tx1">
                    <a:lumMod val="65000"/>
                    <a:lumOff val="35000"/>
                  </a:schemeClr>
                </a:solidFill>
                <a:latin typeface="Bahnschrift Light SemiCondensed" panose="020B0502040204020203" pitchFamily="34" charset="0"/>
              </a:rPr>
              <a:t>6 </a:t>
            </a:r>
            <a:r>
              <a:rPr lang="it-IT" b="1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Bahnschrift Light SemiCondensed" panose="020B0502040204020203" pitchFamily="34" charset="0"/>
              </a:rPr>
              <a:t>MoU</a:t>
            </a:r>
            <a:r>
              <a:rPr lang="it-IT" b="1" dirty="0">
                <a:solidFill>
                  <a:schemeClr val="tx1">
                    <a:lumMod val="65000"/>
                    <a:lumOff val="35000"/>
                  </a:schemeClr>
                </a:solidFill>
                <a:latin typeface="Bahnschrift Light SemiCondensed" panose="020B0502040204020203" pitchFamily="34" charset="0"/>
              </a:rPr>
              <a:t>/Contratti preliminari</a:t>
            </a:r>
            <a:r>
              <a:rPr lang="it-IT" dirty="0">
                <a:solidFill>
                  <a:schemeClr val="tx1">
                    <a:lumMod val="65000"/>
                    <a:lumOff val="35000"/>
                  </a:schemeClr>
                </a:solidFill>
                <a:latin typeface="Bahnschrift Light SemiCondensed" panose="020B0502040204020203" pitchFamily="34" charset="0"/>
              </a:rPr>
              <a:t> con fornitori</a:t>
            </a:r>
            <a:endParaRPr lang="it-IT" b="1" dirty="0">
              <a:solidFill>
                <a:schemeClr val="tx1">
                  <a:lumMod val="65000"/>
                  <a:lumOff val="35000"/>
                </a:schemeClr>
              </a:solidFill>
              <a:latin typeface="Bahnschrift Light SemiCondensed" panose="020B0502040204020203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it-IT" b="1" dirty="0">
                <a:solidFill>
                  <a:schemeClr val="tx1">
                    <a:lumMod val="65000"/>
                    <a:lumOff val="35000"/>
                  </a:schemeClr>
                </a:solidFill>
                <a:latin typeface="Bahnschrift Light SemiCondensed" panose="020B0502040204020203" pitchFamily="34" charset="0"/>
              </a:rPr>
              <a:t>3</a:t>
            </a:r>
            <a:r>
              <a:rPr lang="it-IT" b="1" i="0" u="none" strike="noStrike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Bahnschrift Light SemiCondensed" panose="020B0502040204020203" pitchFamily="34" charset="0"/>
              </a:rPr>
              <a:t> Due diligence</a:t>
            </a:r>
            <a:r>
              <a:rPr lang="it-IT" b="0" i="0" u="none" strike="noStrike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Bahnschrift Light SemiCondensed" panose="020B0502040204020203" pitchFamily="34" charset="0"/>
              </a:rPr>
              <a:t>, attestanti la correttezza dei modelli economico-finanziari e tecnici (bilancio GHG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it-IT" b="1" dirty="0">
                <a:solidFill>
                  <a:schemeClr val="tx1">
                    <a:lumMod val="65000"/>
                    <a:lumOff val="35000"/>
                  </a:schemeClr>
                </a:solidFill>
                <a:latin typeface="Bahnschrift Light SemiCondensed" panose="020B0502040204020203" pitchFamily="34" charset="0"/>
              </a:rPr>
              <a:t>9 documenti tecnici </a:t>
            </a:r>
            <a:r>
              <a:rPr lang="it-IT" dirty="0">
                <a:solidFill>
                  <a:schemeClr val="tx1">
                    <a:lumMod val="65000"/>
                    <a:lumOff val="35000"/>
                  </a:schemeClr>
                </a:solidFill>
                <a:latin typeface="Bahnschrift Light SemiCondensed" panose="020B0502040204020203" pitchFamily="34" charset="0"/>
              </a:rPr>
              <a:t>inerenti la fattibilità tecnica e la progettazione di base</a:t>
            </a:r>
            <a:endParaRPr lang="it-IT" b="0" i="0" u="none" strike="noStrike" baseline="0" dirty="0">
              <a:solidFill>
                <a:schemeClr val="tx1">
                  <a:lumMod val="65000"/>
                  <a:lumOff val="35000"/>
                </a:schemeClr>
              </a:solidFill>
              <a:latin typeface="Bahnschrift Light SemiCondensed" panose="020B0502040204020203" pitchFamily="34" charset="0"/>
            </a:endParaRPr>
          </a:p>
        </p:txBody>
      </p:sp>
      <p:sp>
        <p:nvSpPr>
          <p:cNvPr id="36" name="Plus Sign 35">
            <a:extLst>
              <a:ext uri="{FF2B5EF4-FFF2-40B4-BE49-F238E27FC236}">
                <a16:creationId xmlns:a16="http://schemas.microsoft.com/office/drawing/2014/main" id="{CFE49612-32C4-B0C9-7922-6DB9F95CE735}"/>
              </a:ext>
            </a:extLst>
          </p:cNvPr>
          <p:cNvSpPr/>
          <p:nvPr/>
        </p:nvSpPr>
        <p:spPr>
          <a:xfrm>
            <a:off x="1173708" y="2316484"/>
            <a:ext cx="322838" cy="317143"/>
          </a:xfrm>
          <a:prstGeom prst="mathPlus">
            <a:avLst/>
          </a:prstGeom>
          <a:solidFill>
            <a:srgbClr val="E4E9F2"/>
          </a:solidFill>
          <a:ln>
            <a:solidFill>
              <a:srgbClr val="40B3AA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3" name="모서리가 둥근 직사각형 7">
            <a:extLst>
              <a:ext uri="{FF2B5EF4-FFF2-40B4-BE49-F238E27FC236}">
                <a16:creationId xmlns:a16="http://schemas.microsoft.com/office/drawing/2014/main" id="{6D2E09B4-20DC-379A-C943-1DA9A6051DBF}"/>
              </a:ext>
            </a:extLst>
          </p:cNvPr>
          <p:cNvSpPr/>
          <p:nvPr/>
        </p:nvSpPr>
        <p:spPr>
          <a:xfrm>
            <a:off x="5162955" y="1832390"/>
            <a:ext cx="2746517" cy="700224"/>
          </a:xfrm>
          <a:prstGeom prst="roundRect">
            <a:avLst/>
          </a:prstGeom>
          <a:solidFill>
            <a:srgbClr val="FFFFFF"/>
          </a:solidFill>
          <a:ln w="19050" cap="flat" cmpd="sng" algn="ctr">
            <a:solidFill>
              <a:srgbClr val="40B3AA"/>
            </a:solidFill>
            <a:prstDash val="solid"/>
            <a:miter lim="800000"/>
          </a:ln>
          <a:effectLst/>
        </p:spPr>
        <p:txBody>
          <a:bodyPr lIns="91440" tIns="45720" rIns="91440" bIns="45720" rtlCol="0" anchor="ctr"/>
          <a:lstStyle/>
          <a:p>
            <a:pPr marL="0" marR="0" lvl="0" indent="0" algn="ctr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altLang="ko-KR" sz="1600" b="0" i="0" u="none" strike="noStrike" kern="0" cap="none" spc="0" normalizeH="0" baseline="0" noProof="0" dirty="0">
                <a:ln>
                  <a:noFill/>
                </a:ln>
                <a:solidFill>
                  <a:srgbClr val="4E3B30"/>
                </a:solidFill>
                <a:effectLst/>
                <a:uLnTx/>
                <a:uFillTx/>
                <a:latin typeface="Bahnschrift Light SemiCondensed"/>
                <a:ea typeface="맑은 고딕"/>
              </a:rPr>
              <a:t>Team tecnico:</a:t>
            </a:r>
          </a:p>
          <a:p>
            <a:pPr marL="0" marR="0" lvl="0" indent="0" algn="ctr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it-IT" altLang="ko-KR" sz="1600" b="1" kern="0" dirty="0">
                <a:solidFill>
                  <a:srgbClr val="4E3B30"/>
                </a:solidFill>
                <a:latin typeface="Bahnschrift Light SemiCondensed"/>
                <a:ea typeface="맑은 고딕"/>
              </a:rPr>
              <a:t>4</a:t>
            </a:r>
            <a:r>
              <a:rPr lang="it-IT" altLang="ko-KR" sz="1600" kern="0" dirty="0">
                <a:solidFill>
                  <a:srgbClr val="4E3B30"/>
                </a:solidFill>
                <a:latin typeface="Bahnschrift Light SemiCondensed"/>
                <a:ea typeface="맑은 고딕"/>
              </a:rPr>
              <a:t> </a:t>
            </a:r>
            <a:r>
              <a:rPr lang="it-IT" altLang="ko-KR" sz="1600" b="1" kern="0" dirty="0">
                <a:solidFill>
                  <a:srgbClr val="4E3B30"/>
                </a:solidFill>
                <a:latin typeface="Bahnschrift Light SemiCondensed"/>
                <a:ea typeface="맑은 고딕"/>
              </a:rPr>
              <a:t>risorse</a:t>
            </a:r>
            <a:r>
              <a:rPr kumimoji="0" lang="it-IT" altLang="ko-KR" sz="1600" b="1" i="0" u="none" strike="noStrike" kern="0" cap="none" spc="0" normalizeH="0" baseline="0" noProof="0" dirty="0">
                <a:ln>
                  <a:noFill/>
                </a:ln>
                <a:solidFill>
                  <a:srgbClr val="4E3B30"/>
                </a:solidFill>
                <a:effectLst/>
                <a:uLnTx/>
                <a:uFillTx/>
                <a:latin typeface="Bahnschrift Light SemiCondensed"/>
                <a:ea typeface="맑은 고딕"/>
              </a:rPr>
              <a:t> </a:t>
            </a:r>
            <a:endParaRPr kumimoji="0" lang="ko-KR" altLang="en-US" sz="1600" b="1" i="0" u="none" strike="noStrike" kern="0" cap="none" spc="0" normalizeH="0" baseline="0" noProof="0" dirty="0">
              <a:ln>
                <a:noFill/>
              </a:ln>
              <a:solidFill>
                <a:srgbClr val="4E3B30"/>
              </a:solidFill>
              <a:effectLst/>
              <a:uLnTx/>
              <a:uFillTx/>
              <a:latin typeface="Bahnschrift Light SemiCondensed"/>
              <a:ea typeface="맑은 고딕"/>
            </a:endParaRPr>
          </a:p>
        </p:txBody>
      </p:sp>
      <p:sp>
        <p:nvSpPr>
          <p:cNvPr id="70" name="CasellaDiTesto 2">
            <a:extLst>
              <a:ext uri="{FF2B5EF4-FFF2-40B4-BE49-F238E27FC236}">
                <a16:creationId xmlns:a16="http://schemas.microsoft.com/office/drawing/2014/main" id="{E75A28E6-997C-68E6-602C-9450B2BF22B6}"/>
              </a:ext>
            </a:extLst>
          </p:cNvPr>
          <p:cNvSpPr txBox="1"/>
          <p:nvPr/>
        </p:nvSpPr>
        <p:spPr>
          <a:xfrm>
            <a:off x="5778480" y="821430"/>
            <a:ext cx="4610577" cy="40011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/>
            <a:r>
              <a:rPr lang="it-IT" sz="2000" b="0" i="0" u="none" strike="noStrike" baseline="0" dirty="0">
                <a:solidFill>
                  <a:srgbClr val="009670"/>
                </a:solidFill>
                <a:latin typeface="Bahnschrift Light SemiCondensed"/>
              </a:rPr>
              <a:t>Organigramma </a:t>
            </a:r>
            <a:r>
              <a:rPr lang="it-IT" sz="2000" dirty="0">
                <a:solidFill>
                  <a:srgbClr val="009670"/>
                </a:solidFill>
                <a:latin typeface="Bahnschrift Light SemiCondensed"/>
              </a:rPr>
              <a:t>per</a:t>
            </a:r>
            <a:r>
              <a:rPr lang="it-IT" sz="2000" b="0" i="0" u="none" strike="noStrike" baseline="0" dirty="0">
                <a:solidFill>
                  <a:srgbClr val="009670"/>
                </a:solidFill>
                <a:latin typeface="Bahnschrift Light SemiCondensed"/>
              </a:rPr>
              <a:t> la fase di candidatura</a:t>
            </a:r>
            <a:endParaRPr lang="it-IT" sz="2000" dirty="0">
              <a:solidFill>
                <a:schemeClr val="tx1">
                  <a:lumMod val="65000"/>
                  <a:lumOff val="35000"/>
                </a:schemeClr>
              </a:solidFill>
              <a:latin typeface="Bahnschrift Light SemiCondensed"/>
            </a:endParaRPr>
          </a:p>
        </p:txBody>
      </p:sp>
      <p:sp>
        <p:nvSpPr>
          <p:cNvPr id="71" name="모서리가 둥근 직사각형 7">
            <a:extLst>
              <a:ext uri="{FF2B5EF4-FFF2-40B4-BE49-F238E27FC236}">
                <a16:creationId xmlns:a16="http://schemas.microsoft.com/office/drawing/2014/main" id="{139A8065-46D9-4601-6173-6C0597E0D356}"/>
              </a:ext>
            </a:extLst>
          </p:cNvPr>
          <p:cNvSpPr/>
          <p:nvPr/>
        </p:nvSpPr>
        <p:spPr>
          <a:xfrm>
            <a:off x="8299155" y="1832390"/>
            <a:ext cx="3277944" cy="717688"/>
          </a:xfrm>
          <a:prstGeom prst="roundRect">
            <a:avLst/>
          </a:prstGeom>
          <a:solidFill>
            <a:srgbClr val="FFFFFF"/>
          </a:solidFill>
          <a:ln w="19050" cap="flat" cmpd="sng" algn="ctr">
            <a:solidFill>
              <a:srgbClr val="40B3AA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altLang="ko-KR" sz="1600" b="0" i="0" u="none" strike="noStrike" kern="0" cap="none" spc="0" normalizeH="0" baseline="0" noProof="0" dirty="0">
                <a:ln>
                  <a:noFill/>
                </a:ln>
                <a:solidFill>
                  <a:srgbClr val="4E3B30"/>
                </a:solidFill>
                <a:effectLst/>
                <a:uLnTx/>
                <a:uFillTx/>
                <a:latin typeface="Bahnschrift Light SemiCondensed" panose="020B0502040204020203" pitchFamily="34" charset="0"/>
              </a:rPr>
              <a:t>Team economico-finanziario:</a:t>
            </a:r>
          </a:p>
          <a:p>
            <a:pPr marL="0" marR="0" lvl="0" indent="0" algn="ctr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it-IT" altLang="ko-KR" sz="1600" b="1" kern="0" dirty="0">
                <a:solidFill>
                  <a:srgbClr val="4E3B30"/>
                </a:solidFill>
                <a:latin typeface="Bahnschrift Light SemiCondensed" panose="020B0502040204020203" pitchFamily="34" charset="0"/>
              </a:rPr>
              <a:t>1</a:t>
            </a:r>
            <a:r>
              <a:rPr lang="it-IT" altLang="ko-KR" sz="1600" kern="0" dirty="0">
                <a:solidFill>
                  <a:srgbClr val="4E3B30"/>
                </a:solidFill>
                <a:latin typeface="Bahnschrift Light SemiCondensed" panose="020B0502040204020203" pitchFamily="34" charset="0"/>
              </a:rPr>
              <a:t> </a:t>
            </a:r>
            <a:r>
              <a:rPr lang="it-IT" altLang="ko-KR" sz="1600" b="1" kern="0" dirty="0">
                <a:solidFill>
                  <a:srgbClr val="4E3B30"/>
                </a:solidFill>
                <a:latin typeface="Bahnschrift Light SemiCondensed" panose="020B0502040204020203" pitchFamily="34" charset="0"/>
              </a:rPr>
              <a:t>risorsa</a:t>
            </a:r>
            <a:endParaRPr kumimoji="0" lang="ko-KR" altLang="en-US" sz="1600" b="1" i="0" u="none" strike="noStrike" kern="0" cap="none" spc="0" normalizeH="0" baseline="0" noProof="0" dirty="0">
              <a:ln>
                <a:noFill/>
              </a:ln>
              <a:solidFill>
                <a:srgbClr val="4E3B30"/>
              </a:solidFill>
              <a:effectLst/>
              <a:uLnTx/>
              <a:uFillTx/>
              <a:latin typeface="Bahnschrift Light SemiCondensed" panose="020B0502040204020203" pitchFamily="34" charset="0"/>
            </a:endParaRPr>
          </a:p>
        </p:txBody>
      </p:sp>
      <p:sp>
        <p:nvSpPr>
          <p:cNvPr id="72" name="모서리가 둥근 직사각형 7">
            <a:extLst>
              <a:ext uri="{FF2B5EF4-FFF2-40B4-BE49-F238E27FC236}">
                <a16:creationId xmlns:a16="http://schemas.microsoft.com/office/drawing/2014/main" id="{6C8FC547-BFF6-CA68-21E5-EE5421ED0665}"/>
              </a:ext>
            </a:extLst>
          </p:cNvPr>
          <p:cNvSpPr/>
          <p:nvPr/>
        </p:nvSpPr>
        <p:spPr>
          <a:xfrm>
            <a:off x="5162955" y="2716358"/>
            <a:ext cx="2746517" cy="926892"/>
          </a:xfrm>
          <a:prstGeom prst="roundRect">
            <a:avLst/>
          </a:prstGeom>
          <a:solidFill>
            <a:srgbClr val="FFFFFF"/>
          </a:solidFill>
          <a:ln w="19050" cap="flat" cmpd="sng" algn="ctr">
            <a:solidFill>
              <a:srgbClr val="40B3AA"/>
            </a:solidFill>
            <a:prstDash val="solid"/>
            <a:miter lim="800000"/>
          </a:ln>
          <a:effectLst/>
        </p:spPr>
        <p:txBody>
          <a:bodyPr lIns="91440" tIns="45720" rIns="91440" bIns="45720" rtlCol="0" anchor="ctr"/>
          <a:lstStyle/>
          <a:p>
            <a:pPr algn="ctr" latinLnBrk="1">
              <a:defRPr/>
            </a:pPr>
            <a:r>
              <a:rPr kumimoji="0" lang="it-IT" altLang="ko-KR" sz="1600" b="0" i="0" u="none" strike="noStrike" kern="0" cap="none" spc="0" normalizeH="0" baseline="0" noProof="0" dirty="0">
                <a:ln>
                  <a:noFill/>
                </a:ln>
                <a:solidFill>
                  <a:srgbClr val="4E3B30"/>
                </a:solidFill>
                <a:effectLst/>
                <a:uLnTx/>
                <a:uFillTx/>
                <a:latin typeface="Bahnschrift Light SemiCondensed"/>
                <a:ea typeface="맑은 고딕"/>
              </a:rPr>
              <a:t>Team </a:t>
            </a:r>
            <a:r>
              <a:rPr kumimoji="0" lang="it-IT" altLang="ko-KR" sz="1600" b="0" i="0" u="none" strike="noStrike" kern="0" cap="none" spc="0" normalizeH="0" baseline="0" noProof="0" dirty="0" err="1">
                <a:ln>
                  <a:noFill/>
                </a:ln>
                <a:solidFill>
                  <a:srgbClr val="4E3B30"/>
                </a:solidFill>
                <a:effectLst/>
                <a:uLnTx/>
                <a:uFillTx/>
                <a:latin typeface="Bahnschrift Light SemiCondensed"/>
                <a:ea typeface="맑은 고딕"/>
              </a:rPr>
              <a:t>permitting</a:t>
            </a:r>
            <a:r>
              <a:rPr kumimoji="0" lang="it-IT" altLang="ko-KR" sz="1600" b="0" i="0" u="none" strike="noStrike" kern="0" cap="none" spc="0" normalizeH="0" baseline="0" noProof="0" dirty="0">
                <a:ln>
                  <a:noFill/>
                </a:ln>
                <a:solidFill>
                  <a:srgbClr val="4E3B30"/>
                </a:solidFill>
                <a:effectLst/>
                <a:uLnTx/>
                <a:uFillTx/>
                <a:latin typeface="Bahnschrift Light SemiCondensed"/>
                <a:ea typeface="맑은 고딕"/>
              </a:rPr>
              <a:t> </a:t>
            </a:r>
            <a:r>
              <a:rPr lang="it-IT" altLang="ko-KR" sz="1600" kern="0" dirty="0">
                <a:solidFill>
                  <a:srgbClr val="4E3B30"/>
                </a:solidFill>
                <a:latin typeface="Bahnschrift Light SemiCondensed"/>
                <a:ea typeface="맑은 고딕"/>
              </a:rPr>
              <a:t>ed</a:t>
            </a:r>
          </a:p>
          <a:p>
            <a:pPr algn="ctr" latinLnBrk="1">
              <a:defRPr/>
            </a:pPr>
            <a:r>
              <a:rPr lang="it-IT" sz="1600" kern="0" dirty="0" err="1">
                <a:solidFill>
                  <a:srgbClr val="4E3B30"/>
                </a:solidFill>
                <a:latin typeface="Bahnschrift Light SemiCondensed"/>
              </a:rPr>
              <a:t>environment</a:t>
            </a:r>
            <a:endParaRPr lang="it-IT" sz="1600" kern="0" dirty="0">
              <a:solidFill>
                <a:srgbClr val="4E3B30"/>
              </a:solidFill>
              <a:latin typeface="Bahnschrift Light SemiCondensed"/>
            </a:endParaRPr>
          </a:p>
          <a:p>
            <a:pPr algn="ctr" latinLnBrk="1">
              <a:defRPr/>
            </a:pPr>
            <a:r>
              <a:rPr kumimoji="0" lang="it-IT" altLang="ko-KR" sz="1600" b="1" i="0" u="none" strike="noStrike" kern="0" cap="none" spc="0" normalizeH="0" baseline="0" noProof="0" dirty="0">
                <a:ln>
                  <a:noFill/>
                </a:ln>
                <a:solidFill>
                  <a:srgbClr val="4E3B30"/>
                </a:solidFill>
                <a:effectLst/>
                <a:uLnTx/>
                <a:uFillTx/>
                <a:latin typeface="Bahnschrift Light SemiCondensed"/>
              </a:rPr>
              <a:t>1 risorsa</a:t>
            </a:r>
            <a:endParaRPr kumimoji="0" lang="ko-KR" altLang="en-US" sz="1600" b="1" i="0" u="none" strike="noStrike" kern="0" cap="none" spc="0" normalizeH="0" baseline="0" noProof="0" dirty="0">
              <a:ln>
                <a:noFill/>
              </a:ln>
              <a:solidFill>
                <a:srgbClr val="4E3B30"/>
              </a:solidFill>
              <a:effectLst/>
              <a:uLnTx/>
              <a:uFillTx/>
              <a:latin typeface="Bahnschrift Light SemiCondensed" panose="020B0502040204020203" pitchFamily="34" charset="0"/>
            </a:endParaRPr>
          </a:p>
        </p:txBody>
      </p:sp>
      <p:sp>
        <p:nvSpPr>
          <p:cNvPr id="73" name="모서리가 둥근 직사각형 7">
            <a:extLst>
              <a:ext uri="{FF2B5EF4-FFF2-40B4-BE49-F238E27FC236}">
                <a16:creationId xmlns:a16="http://schemas.microsoft.com/office/drawing/2014/main" id="{E3B1B5D3-2091-E01A-5884-A66B1325879D}"/>
              </a:ext>
            </a:extLst>
          </p:cNvPr>
          <p:cNvSpPr/>
          <p:nvPr/>
        </p:nvSpPr>
        <p:spPr>
          <a:xfrm>
            <a:off x="8299153" y="2716358"/>
            <a:ext cx="3267141" cy="926892"/>
          </a:xfrm>
          <a:prstGeom prst="roundRect">
            <a:avLst/>
          </a:prstGeom>
          <a:solidFill>
            <a:srgbClr val="FFFFFF"/>
          </a:solidFill>
          <a:ln w="19050" cap="flat" cmpd="sng" algn="ctr">
            <a:solidFill>
              <a:srgbClr val="40B3AA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altLang="ko-KR" sz="1600" b="0" i="0" u="none" strike="noStrike" kern="0" cap="none" spc="0" normalizeH="0" baseline="0" noProof="0" dirty="0">
                <a:ln>
                  <a:noFill/>
                </a:ln>
                <a:solidFill>
                  <a:srgbClr val="4E3B30"/>
                </a:solidFill>
                <a:effectLst/>
                <a:uLnTx/>
                <a:uFillTx/>
                <a:latin typeface="Bahnschrift Light SemiCondensed" panose="020B0502040204020203" pitchFamily="34" charset="0"/>
              </a:rPr>
              <a:t>Team stakeholders engagement:</a:t>
            </a:r>
          </a:p>
          <a:p>
            <a:pPr marL="0" marR="0" lvl="0" indent="0" algn="ctr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altLang="ko-KR" sz="1600" b="1" i="0" u="none" strike="noStrike" kern="0" cap="none" spc="0" normalizeH="0" baseline="0" noProof="0" dirty="0">
                <a:ln>
                  <a:noFill/>
                </a:ln>
                <a:solidFill>
                  <a:srgbClr val="4E3B30"/>
                </a:solidFill>
                <a:effectLst/>
                <a:uLnTx/>
                <a:uFillTx/>
                <a:latin typeface="Bahnschrift Light SemiCondensed" panose="020B0502040204020203" pitchFamily="34" charset="0"/>
              </a:rPr>
              <a:t>1 </a:t>
            </a:r>
            <a:r>
              <a:rPr lang="it-IT" altLang="ko-KR" sz="1600" b="1" kern="0" dirty="0">
                <a:solidFill>
                  <a:srgbClr val="4E3B30"/>
                </a:solidFill>
                <a:latin typeface="Bahnschrift Light SemiCondensed" panose="020B0502040204020203" pitchFamily="34" charset="0"/>
              </a:rPr>
              <a:t>risorsa</a:t>
            </a:r>
            <a:r>
              <a:rPr lang="it-IT" altLang="ko-KR" sz="1600" kern="0" dirty="0">
                <a:solidFill>
                  <a:srgbClr val="4E3B30"/>
                </a:solidFill>
                <a:latin typeface="Bahnschrift Light SemiCondensed" panose="020B0502040204020203" pitchFamily="34" charset="0"/>
              </a:rPr>
              <a:t> area commerciale</a:t>
            </a:r>
          </a:p>
          <a:p>
            <a:pPr marL="0" marR="0" lvl="0" indent="0" algn="ctr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altLang="ko-KR" sz="1600" b="1" i="0" u="none" strike="noStrike" kern="0" cap="none" spc="0" normalizeH="0" baseline="0" noProof="0" dirty="0">
                <a:ln>
                  <a:noFill/>
                </a:ln>
                <a:solidFill>
                  <a:srgbClr val="4E3B30"/>
                </a:solidFill>
                <a:effectLst/>
                <a:uLnTx/>
                <a:uFillTx/>
                <a:latin typeface="Bahnschrift Light SemiCondensed" panose="020B0502040204020203" pitchFamily="34" charset="0"/>
              </a:rPr>
              <a:t>1 risorsa</a:t>
            </a:r>
            <a:r>
              <a:rPr kumimoji="0" lang="it-IT" altLang="ko-KR" sz="1600" b="0" i="0" u="none" strike="noStrike" kern="0" cap="none" spc="0" normalizeH="0" baseline="0" noProof="0" dirty="0">
                <a:ln>
                  <a:noFill/>
                </a:ln>
                <a:solidFill>
                  <a:srgbClr val="4E3B30"/>
                </a:solidFill>
                <a:effectLst/>
                <a:uLnTx/>
                <a:uFillTx/>
                <a:latin typeface="Bahnschrift Light SemiCondensed" panose="020B0502040204020203" pitchFamily="34" charset="0"/>
              </a:rPr>
              <a:t> area affari istituzionali</a:t>
            </a:r>
            <a:endParaRPr kumimoji="0" lang="ko-KR" altLang="en-US" sz="1600" b="0" i="0" u="none" strike="noStrike" kern="0" cap="none" spc="0" normalizeH="0" baseline="0" noProof="0" dirty="0">
              <a:ln>
                <a:noFill/>
              </a:ln>
              <a:solidFill>
                <a:srgbClr val="4E3B30"/>
              </a:solidFill>
              <a:effectLst/>
              <a:uLnTx/>
              <a:uFillTx/>
              <a:latin typeface="Bahnschrift Light SemiCondensed" panose="020B0502040204020203" pitchFamily="34" charset="0"/>
            </a:endParaRPr>
          </a:p>
        </p:txBody>
      </p:sp>
      <p:sp>
        <p:nvSpPr>
          <p:cNvPr id="77" name="모서리가 둥근 직사각형 7">
            <a:extLst>
              <a:ext uri="{FF2B5EF4-FFF2-40B4-BE49-F238E27FC236}">
                <a16:creationId xmlns:a16="http://schemas.microsoft.com/office/drawing/2014/main" id="{1ED85E40-D799-38AE-71C7-A30937181D66}"/>
              </a:ext>
            </a:extLst>
          </p:cNvPr>
          <p:cNvSpPr/>
          <p:nvPr/>
        </p:nvSpPr>
        <p:spPr>
          <a:xfrm>
            <a:off x="6322143" y="1252261"/>
            <a:ext cx="3608437" cy="369333"/>
          </a:xfrm>
          <a:prstGeom prst="roundRect">
            <a:avLst/>
          </a:prstGeom>
          <a:solidFill>
            <a:srgbClr val="FFFFFF"/>
          </a:solidFill>
          <a:ln w="19050" cap="flat" cmpd="sng" algn="ctr">
            <a:solidFill>
              <a:srgbClr val="40B3AA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it-IT" altLang="ko-KR" kern="0" dirty="0">
                <a:solidFill>
                  <a:srgbClr val="4E3B30"/>
                </a:solidFill>
                <a:latin typeface="Bahnschrift Light SemiCondensed" panose="020B0502040204020203" pitchFamily="34" charset="0"/>
              </a:rPr>
              <a:t>1 Project Manager interno</a:t>
            </a:r>
            <a:endParaRPr kumimoji="0" lang="ko-KR" altLang="en-US" b="0" i="0" u="none" strike="noStrike" kern="0" cap="none" spc="0" normalizeH="0" baseline="0" noProof="0" dirty="0">
              <a:ln>
                <a:noFill/>
              </a:ln>
              <a:solidFill>
                <a:srgbClr val="4E3B30"/>
              </a:solidFill>
              <a:effectLst/>
              <a:uLnTx/>
              <a:uFillTx/>
              <a:latin typeface="Bahnschrift Light SemiCondensed" panose="020B0502040204020203" pitchFamily="34" charset="0"/>
            </a:endParaRPr>
          </a:p>
        </p:txBody>
      </p:sp>
      <p:cxnSp>
        <p:nvCxnSpPr>
          <p:cNvPr id="82" name="Connector: Elbow 81">
            <a:extLst>
              <a:ext uri="{FF2B5EF4-FFF2-40B4-BE49-F238E27FC236}">
                <a16:creationId xmlns:a16="http://schemas.microsoft.com/office/drawing/2014/main" id="{8C7ADD59-BA9D-E5BC-7073-BDBF33944D7E}"/>
              </a:ext>
            </a:extLst>
          </p:cNvPr>
          <p:cNvCxnSpPr>
            <a:cxnSpLocks/>
            <a:stCxn id="77" idx="2"/>
            <a:endCxn id="73" idx="1"/>
          </p:cNvCxnSpPr>
          <p:nvPr/>
        </p:nvCxnSpPr>
        <p:spPr>
          <a:xfrm rot="16200000" flipH="1">
            <a:off x="7433652" y="2314303"/>
            <a:ext cx="1558210" cy="172791"/>
          </a:xfrm>
          <a:prstGeom prst="bentConnector2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85" name="Connector: Elbow 84">
            <a:extLst>
              <a:ext uri="{FF2B5EF4-FFF2-40B4-BE49-F238E27FC236}">
                <a16:creationId xmlns:a16="http://schemas.microsoft.com/office/drawing/2014/main" id="{C838699D-CDC1-1EFF-16C7-8D8A8E98675B}"/>
              </a:ext>
            </a:extLst>
          </p:cNvPr>
          <p:cNvCxnSpPr>
            <a:cxnSpLocks/>
            <a:endCxn id="72" idx="3"/>
          </p:cNvCxnSpPr>
          <p:nvPr/>
        </p:nvCxnSpPr>
        <p:spPr>
          <a:xfrm rot="5400000">
            <a:off x="7228982" y="2302084"/>
            <a:ext cx="1558211" cy="197229"/>
          </a:xfrm>
          <a:prstGeom prst="bentConnector2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88" name="Connector: Elbow 87">
            <a:extLst>
              <a:ext uri="{FF2B5EF4-FFF2-40B4-BE49-F238E27FC236}">
                <a16:creationId xmlns:a16="http://schemas.microsoft.com/office/drawing/2014/main" id="{86C8D1D9-1ACA-70E4-BA56-7353733AAAEB}"/>
              </a:ext>
            </a:extLst>
          </p:cNvPr>
          <p:cNvCxnSpPr>
            <a:cxnSpLocks/>
            <a:stCxn id="77" idx="2"/>
            <a:endCxn id="63" idx="3"/>
          </p:cNvCxnSpPr>
          <p:nvPr/>
        </p:nvCxnSpPr>
        <p:spPr>
          <a:xfrm rot="5400000">
            <a:off x="7737463" y="1793603"/>
            <a:ext cx="560908" cy="216890"/>
          </a:xfrm>
          <a:prstGeom prst="bentConnector2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1" name="Connector: Elbow 90">
            <a:extLst>
              <a:ext uri="{FF2B5EF4-FFF2-40B4-BE49-F238E27FC236}">
                <a16:creationId xmlns:a16="http://schemas.microsoft.com/office/drawing/2014/main" id="{EC73C91B-0B83-FAB0-C0AD-45FD3C6C9360}"/>
              </a:ext>
            </a:extLst>
          </p:cNvPr>
          <p:cNvCxnSpPr>
            <a:cxnSpLocks/>
            <a:stCxn id="77" idx="2"/>
            <a:endCxn id="71" idx="1"/>
          </p:cNvCxnSpPr>
          <p:nvPr/>
        </p:nvCxnSpPr>
        <p:spPr>
          <a:xfrm rot="16200000" flipH="1">
            <a:off x="7927938" y="1820017"/>
            <a:ext cx="569640" cy="172793"/>
          </a:xfrm>
          <a:prstGeom prst="bentConnector2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5" name="CasellaDiTesto 2">
            <a:extLst>
              <a:ext uri="{FF2B5EF4-FFF2-40B4-BE49-F238E27FC236}">
                <a16:creationId xmlns:a16="http://schemas.microsoft.com/office/drawing/2014/main" id="{0A7773E9-D846-173D-3B9F-DF710DB81247}"/>
              </a:ext>
            </a:extLst>
          </p:cNvPr>
          <p:cNvSpPr txBox="1"/>
          <p:nvPr/>
        </p:nvSpPr>
        <p:spPr>
          <a:xfrm>
            <a:off x="569769" y="1626671"/>
            <a:ext cx="1117277" cy="338554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/>
            <a:r>
              <a:rPr lang="it-IT" sz="1600" dirty="0">
                <a:solidFill>
                  <a:srgbClr val="009670"/>
                </a:solidFill>
                <a:latin typeface="Bahnschrift Light SemiCondensed" panose="020B0502040204020203" pitchFamily="34" charset="0"/>
              </a:rPr>
              <a:t>Documenti</a:t>
            </a:r>
            <a:endParaRPr lang="it-IT" sz="1600" i="0" u="none" strike="noStrike" baseline="0" dirty="0">
              <a:solidFill>
                <a:srgbClr val="009670"/>
              </a:solidFill>
              <a:latin typeface="Bahnschrift Light SemiCondensed"/>
            </a:endParaRPr>
          </a:p>
        </p:txBody>
      </p:sp>
      <p:cxnSp>
        <p:nvCxnSpPr>
          <p:cNvPr id="7" name="Connettore diritto 32">
            <a:extLst>
              <a:ext uri="{FF2B5EF4-FFF2-40B4-BE49-F238E27FC236}">
                <a16:creationId xmlns:a16="http://schemas.microsoft.com/office/drawing/2014/main" id="{FD7D64A1-A39F-734C-C77C-36D691467300}"/>
              </a:ext>
            </a:extLst>
          </p:cNvPr>
          <p:cNvCxnSpPr>
            <a:cxnSpLocks/>
          </p:cNvCxnSpPr>
          <p:nvPr/>
        </p:nvCxnSpPr>
        <p:spPr>
          <a:xfrm>
            <a:off x="4621381" y="897351"/>
            <a:ext cx="0" cy="5051165"/>
          </a:xfrm>
          <a:prstGeom prst="line">
            <a:avLst/>
          </a:prstGeom>
          <a:ln>
            <a:prstDash val="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1" name="모서리가 둥근 직사각형 7">
            <a:extLst>
              <a:ext uri="{FF2B5EF4-FFF2-40B4-BE49-F238E27FC236}">
                <a16:creationId xmlns:a16="http://schemas.microsoft.com/office/drawing/2014/main" id="{C855EEE1-A188-AC75-F2BE-B2B38D5D40F8}"/>
              </a:ext>
            </a:extLst>
          </p:cNvPr>
          <p:cNvSpPr/>
          <p:nvPr/>
        </p:nvSpPr>
        <p:spPr>
          <a:xfrm>
            <a:off x="5166627" y="4606665"/>
            <a:ext cx="6410471" cy="602877"/>
          </a:xfrm>
          <a:prstGeom prst="roundRect">
            <a:avLst/>
          </a:prstGeom>
          <a:solidFill>
            <a:srgbClr val="F8F8F8"/>
          </a:solidFill>
          <a:ln w="19050" cap="flat" cmpd="sng" algn="ctr">
            <a:solidFill>
              <a:srgbClr val="30636E"/>
            </a:solidFill>
            <a:prstDash val="solid"/>
            <a:miter lim="800000"/>
          </a:ln>
          <a:effectLst/>
        </p:spPr>
        <p:txBody>
          <a:bodyPr lIns="91440" tIns="45720" rIns="91440" bIns="45720" rtlCol="0" anchor="ctr"/>
          <a:lstStyle/>
          <a:p>
            <a:pPr marL="720000"/>
            <a:r>
              <a:rPr lang="it-IT" sz="16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Bahnschrift Light SemiCondensed"/>
              </a:rPr>
              <a:t>SAIPEM: </a:t>
            </a:r>
            <a:r>
              <a:rPr lang="it-IT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Bahnschrift Light SemiCondensed"/>
              </a:rPr>
              <a:t>partner tecnico per sviluppo della fattibilità tecnico-economica di progetto</a:t>
            </a:r>
            <a:endParaRPr lang="en-US" sz="16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12" name="모서리가 둥근 직사각형 7">
            <a:extLst>
              <a:ext uri="{FF2B5EF4-FFF2-40B4-BE49-F238E27FC236}">
                <a16:creationId xmlns:a16="http://schemas.microsoft.com/office/drawing/2014/main" id="{621BE1AF-5547-F01A-3BBF-6B4207AD4616}"/>
              </a:ext>
            </a:extLst>
          </p:cNvPr>
          <p:cNvSpPr/>
          <p:nvPr/>
        </p:nvSpPr>
        <p:spPr>
          <a:xfrm>
            <a:off x="5166627" y="5334276"/>
            <a:ext cx="6399667" cy="772011"/>
          </a:xfrm>
          <a:prstGeom prst="roundRect">
            <a:avLst/>
          </a:prstGeom>
          <a:solidFill>
            <a:srgbClr val="F8F8F8"/>
          </a:solidFill>
          <a:ln w="19050" cap="flat" cmpd="sng" algn="ctr">
            <a:solidFill>
              <a:srgbClr val="30636E"/>
            </a:solidFill>
            <a:prstDash val="solid"/>
            <a:miter lim="800000"/>
          </a:ln>
          <a:effectLst/>
        </p:spPr>
        <p:txBody>
          <a:bodyPr lIns="91440" tIns="45720" rIns="91440" bIns="45720" rtlCol="0" anchor="ctr"/>
          <a:lstStyle/>
          <a:p>
            <a:pPr marL="720000"/>
            <a:r>
              <a:rPr lang="it-IT" sz="16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Bahnschrift Light SemiCondensed"/>
              </a:rPr>
              <a:t>Consulente Strategico</a:t>
            </a:r>
            <a:r>
              <a:rPr lang="it-IT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Bahnschrift Light SemiCondensed"/>
              </a:rPr>
              <a:t> per PMO</a:t>
            </a:r>
            <a:r>
              <a:rPr lang="it-IT" sz="16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Bahnschrift Light SemiCondensed"/>
              </a:rPr>
              <a:t>: </a:t>
            </a:r>
          </a:p>
          <a:p>
            <a:pPr marL="720000"/>
            <a:r>
              <a:rPr lang="it-IT" sz="16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Bahnschrift Light SemiCondensed"/>
              </a:rPr>
              <a:t>- riunioni settimanali </a:t>
            </a:r>
            <a:r>
              <a:rPr lang="it-IT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Bahnschrift Light SemiCondensed"/>
              </a:rPr>
              <a:t>con i working teams, </a:t>
            </a:r>
          </a:p>
          <a:p>
            <a:pPr marL="720000"/>
            <a:r>
              <a:rPr lang="it-IT" sz="16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Bahnschrift Light SemiCondensed"/>
              </a:rPr>
              <a:t>- steering committee </a:t>
            </a:r>
            <a:r>
              <a:rPr lang="it-IT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Bahnschrift Light SemiCondensed"/>
              </a:rPr>
              <a:t>1 ogni 3 settimane</a:t>
            </a:r>
            <a:endParaRPr lang="en-US" sz="16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41" name="Plus Sign 40">
            <a:extLst>
              <a:ext uri="{FF2B5EF4-FFF2-40B4-BE49-F238E27FC236}">
                <a16:creationId xmlns:a16="http://schemas.microsoft.com/office/drawing/2014/main" id="{3C2BC300-F4C8-ACEA-93DF-259535686344}"/>
              </a:ext>
            </a:extLst>
          </p:cNvPr>
          <p:cNvSpPr/>
          <p:nvPr/>
        </p:nvSpPr>
        <p:spPr>
          <a:xfrm>
            <a:off x="7876163" y="4172716"/>
            <a:ext cx="392923" cy="374872"/>
          </a:xfrm>
          <a:prstGeom prst="mathPlus">
            <a:avLst/>
          </a:prstGeom>
          <a:solidFill>
            <a:srgbClr val="E4E9F2"/>
          </a:solidFill>
          <a:ln>
            <a:solidFill>
              <a:srgbClr val="40B3AA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42" name="Graphic 41" descr="Single gear outline">
            <a:extLst>
              <a:ext uri="{FF2B5EF4-FFF2-40B4-BE49-F238E27FC236}">
                <a16:creationId xmlns:a16="http://schemas.microsoft.com/office/drawing/2014/main" id="{F42831C3-CD9B-A9EF-3317-1939F1D592D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239644" y="4628148"/>
            <a:ext cx="610891" cy="610891"/>
          </a:xfrm>
          <a:prstGeom prst="rect">
            <a:avLst/>
          </a:prstGeom>
        </p:spPr>
      </p:pic>
      <p:pic>
        <p:nvPicPr>
          <p:cNvPr id="45" name="Graphic 44" descr="Lightbulb and gear outline">
            <a:extLst>
              <a:ext uri="{FF2B5EF4-FFF2-40B4-BE49-F238E27FC236}">
                <a16:creationId xmlns:a16="http://schemas.microsoft.com/office/drawing/2014/main" id="{2A2186D6-74C6-F156-BA3B-6EF3635076D5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5263202" y="5445124"/>
            <a:ext cx="540000" cy="540000"/>
          </a:xfrm>
          <a:prstGeom prst="rect">
            <a:avLst/>
          </a:prstGeom>
        </p:spPr>
      </p:pic>
      <p:sp>
        <p:nvSpPr>
          <p:cNvPr id="10" name="모서리가 둥근 직사각형 7">
            <a:extLst>
              <a:ext uri="{FF2B5EF4-FFF2-40B4-BE49-F238E27FC236}">
                <a16:creationId xmlns:a16="http://schemas.microsoft.com/office/drawing/2014/main" id="{14602948-646E-224F-8779-92DA70FC5E75}"/>
              </a:ext>
            </a:extLst>
          </p:cNvPr>
          <p:cNvSpPr/>
          <p:nvPr/>
        </p:nvSpPr>
        <p:spPr>
          <a:xfrm>
            <a:off x="6263658" y="3780227"/>
            <a:ext cx="3666414" cy="363665"/>
          </a:xfrm>
          <a:prstGeom prst="roundRect">
            <a:avLst/>
          </a:prstGeom>
          <a:solidFill>
            <a:srgbClr val="FFFFFF"/>
          </a:solidFill>
          <a:ln w="19050" cap="flat" cmpd="sng" algn="ctr">
            <a:solidFill>
              <a:srgbClr val="40B3AA"/>
            </a:solidFill>
            <a:prstDash val="solid"/>
            <a:miter lim="800000"/>
          </a:ln>
          <a:effectLst/>
        </p:spPr>
        <p:txBody>
          <a:bodyPr lIns="91440" tIns="45720" rIns="91440" bIns="45720" rtlCol="0" anchor="ctr"/>
          <a:lstStyle/>
          <a:p>
            <a:pPr marL="0" marR="0" lvl="0" indent="0" algn="ctr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altLang="ko-KR" sz="1600" b="0" i="0" u="none" strike="noStrike" kern="0" cap="none" spc="0" normalizeH="0" baseline="0" noProof="0" dirty="0">
                <a:ln>
                  <a:noFill/>
                </a:ln>
                <a:solidFill>
                  <a:srgbClr val="4E3B30"/>
                </a:solidFill>
                <a:effectLst/>
                <a:uLnTx/>
                <a:uFillTx/>
                <a:latin typeface="Bahnschrift Light SemiCondensed"/>
                <a:ea typeface="맑은 고딕"/>
              </a:rPr>
              <a:t>Team </a:t>
            </a:r>
            <a:r>
              <a:rPr lang="it-IT" altLang="ko-KR" sz="1600" kern="0" dirty="0" err="1">
                <a:solidFill>
                  <a:srgbClr val="4E3B30"/>
                </a:solidFill>
                <a:latin typeface="Bahnschrift Light SemiCondensed"/>
                <a:ea typeface="맑은 고딕"/>
              </a:rPr>
              <a:t>legal</a:t>
            </a:r>
            <a:r>
              <a:rPr kumimoji="0" lang="it-IT" altLang="ko-KR" sz="1600" b="0" i="0" u="none" strike="noStrike" kern="0" cap="none" spc="0" normalizeH="0" baseline="0" noProof="0" dirty="0">
                <a:ln>
                  <a:noFill/>
                </a:ln>
                <a:solidFill>
                  <a:srgbClr val="4E3B30"/>
                </a:solidFill>
                <a:effectLst/>
                <a:uLnTx/>
                <a:uFillTx/>
                <a:latin typeface="Bahnschrift Light SemiCondensed"/>
                <a:ea typeface="맑은 고딕"/>
              </a:rPr>
              <a:t>: </a:t>
            </a:r>
            <a:r>
              <a:rPr lang="it-IT" altLang="ko-KR" sz="1600" b="1" kern="0" dirty="0">
                <a:solidFill>
                  <a:srgbClr val="4E3B30"/>
                </a:solidFill>
                <a:latin typeface="Bahnschrift Light SemiCondensed"/>
                <a:ea typeface="맑은 고딕"/>
              </a:rPr>
              <a:t>1</a:t>
            </a:r>
            <a:r>
              <a:rPr lang="it-IT" altLang="ko-KR" sz="1600" kern="0" dirty="0">
                <a:solidFill>
                  <a:srgbClr val="4E3B30"/>
                </a:solidFill>
                <a:latin typeface="Bahnschrift Light SemiCondensed"/>
                <a:ea typeface="맑은 고딕"/>
              </a:rPr>
              <a:t> </a:t>
            </a:r>
            <a:r>
              <a:rPr lang="it-IT" altLang="ko-KR" sz="1600" b="1" kern="0" dirty="0">
                <a:solidFill>
                  <a:srgbClr val="4E3B30"/>
                </a:solidFill>
                <a:latin typeface="Bahnschrift Light SemiCondensed"/>
                <a:ea typeface="맑은 고딕"/>
              </a:rPr>
              <a:t>risorsa</a:t>
            </a:r>
            <a:r>
              <a:rPr kumimoji="0" lang="it-IT" altLang="ko-KR" sz="1600" b="1" i="0" u="none" strike="noStrike" kern="0" cap="none" spc="0" normalizeH="0" baseline="0" noProof="0" dirty="0">
                <a:ln>
                  <a:noFill/>
                </a:ln>
                <a:solidFill>
                  <a:srgbClr val="4E3B30"/>
                </a:solidFill>
                <a:effectLst/>
                <a:uLnTx/>
                <a:uFillTx/>
                <a:latin typeface="Bahnschrift Light SemiCondensed"/>
                <a:ea typeface="맑은 고딕"/>
              </a:rPr>
              <a:t> </a:t>
            </a:r>
            <a:endParaRPr kumimoji="0" lang="ko-KR" altLang="en-US" sz="1600" b="1" i="0" u="none" strike="noStrike" kern="0" cap="none" spc="0" normalizeH="0" baseline="0" noProof="0" dirty="0">
              <a:ln>
                <a:noFill/>
              </a:ln>
              <a:solidFill>
                <a:srgbClr val="4E3B30"/>
              </a:solidFill>
              <a:effectLst/>
              <a:uLnTx/>
              <a:uFillTx/>
              <a:latin typeface="Bahnschrift Light SemiCondensed"/>
              <a:ea typeface="맑은 고딕"/>
            </a:endParaRPr>
          </a:p>
        </p:txBody>
      </p:sp>
      <p:cxnSp>
        <p:nvCxnSpPr>
          <p:cNvPr id="17" name="Connettore diritto 16">
            <a:extLst>
              <a:ext uri="{FF2B5EF4-FFF2-40B4-BE49-F238E27FC236}">
                <a16:creationId xmlns:a16="http://schemas.microsoft.com/office/drawing/2014/main" id="{F6778601-6027-C7EC-949A-C9B29ABC7805}"/>
              </a:ext>
            </a:extLst>
          </p:cNvPr>
          <p:cNvCxnSpPr>
            <a:stCxn id="77" idx="2"/>
            <a:endCxn id="10" idx="0"/>
          </p:cNvCxnSpPr>
          <p:nvPr/>
        </p:nvCxnSpPr>
        <p:spPr>
          <a:xfrm flipH="1">
            <a:off x="8096865" y="1621594"/>
            <a:ext cx="29497" cy="2158633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3236250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077D55D-558D-4EB6-0A7D-AC084D16F7A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Diagonal Stripe 24">
            <a:extLst>
              <a:ext uri="{FF2B5EF4-FFF2-40B4-BE49-F238E27FC236}">
                <a16:creationId xmlns:a16="http://schemas.microsoft.com/office/drawing/2014/main" id="{8E2162FE-B2D7-9463-D0C0-38FDF03874D2}"/>
              </a:ext>
            </a:extLst>
          </p:cNvPr>
          <p:cNvSpPr/>
          <p:nvPr/>
        </p:nvSpPr>
        <p:spPr>
          <a:xfrm rot="18937720">
            <a:off x="5265639" y="3391068"/>
            <a:ext cx="1388808" cy="1420565"/>
          </a:xfrm>
          <a:prstGeom prst="diagStripe">
            <a:avLst>
              <a:gd name="adj" fmla="val 30958"/>
            </a:avLst>
          </a:prstGeom>
          <a:solidFill>
            <a:srgbClr val="40B3AA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2" name="CasellaDiTesto 1">
            <a:extLst>
              <a:ext uri="{FF2B5EF4-FFF2-40B4-BE49-F238E27FC236}">
                <a16:creationId xmlns:a16="http://schemas.microsoft.com/office/drawing/2014/main" id="{9A60984A-4ED1-3AEA-BE3A-5D26BF99BC9E}"/>
              </a:ext>
            </a:extLst>
          </p:cNvPr>
          <p:cNvSpPr txBox="1"/>
          <p:nvPr/>
        </p:nvSpPr>
        <p:spPr>
          <a:xfrm>
            <a:off x="127038" y="126000"/>
            <a:ext cx="11450061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3200" dirty="0">
                <a:solidFill>
                  <a:srgbClr val="30636E"/>
                </a:solidFill>
                <a:latin typeface="Bahnschrift Light SemiCondensed" panose="020B0502040204020203" pitchFamily="34" charset="0"/>
              </a:rPr>
              <a:t>Fase di firma del «Grant» e fase di reporting: attività svolte e in corso</a:t>
            </a:r>
          </a:p>
        </p:txBody>
      </p:sp>
      <p:grpSp>
        <p:nvGrpSpPr>
          <p:cNvPr id="6" name="Group 7">
            <a:extLst>
              <a:ext uri="{FF2B5EF4-FFF2-40B4-BE49-F238E27FC236}">
                <a16:creationId xmlns:a16="http://schemas.microsoft.com/office/drawing/2014/main" id="{DB33D1B1-87EB-82B0-158C-AEB0D3A50040}"/>
              </a:ext>
            </a:extLst>
          </p:cNvPr>
          <p:cNvGrpSpPr/>
          <p:nvPr/>
        </p:nvGrpSpPr>
        <p:grpSpPr>
          <a:xfrm>
            <a:off x="4791544" y="1026420"/>
            <a:ext cx="529758" cy="515477"/>
            <a:chOff x="6448679" y="3737954"/>
            <a:chExt cx="766337" cy="765599"/>
          </a:xfrm>
        </p:grpSpPr>
        <p:sp>
          <p:nvSpPr>
            <p:cNvPr id="7" name="Oval 155">
              <a:extLst>
                <a:ext uri="{FF2B5EF4-FFF2-40B4-BE49-F238E27FC236}">
                  <a16:creationId xmlns:a16="http://schemas.microsoft.com/office/drawing/2014/main" id="{4DD5C793-9879-432B-82F9-18027A1CAAAF}"/>
                </a:ext>
              </a:extLst>
            </p:cNvPr>
            <p:cNvSpPr/>
            <p:nvPr>
              <p:custDataLst>
                <p:tags r:id="rId1"/>
              </p:custDataLst>
            </p:nvPr>
          </p:nvSpPr>
          <p:spPr>
            <a:xfrm>
              <a:off x="6448679" y="3737954"/>
              <a:ext cx="766337" cy="765599"/>
            </a:xfrm>
            <a:prstGeom prst="ellipse">
              <a:avLst/>
            </a:prstGeom>
            <a:solidFill>
              <a:srgbClr val="FFFFFF"/>
            </a:solidFill>
            <a:ln w="19050">
              <a:solidFill>
                <a:srgbClr val="40B3A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91440" rIns="91440" bIns="91440" rtlCol="0" anchor="ctr"/>
            <a:lstStyle/>
            <a:p>
              <a:pPr algn="ctr">
                <a:lnSpc>
                  <a:spcPct val="95000"/>
                </a:lnSpc>
              </a:pPr>
              <a:endParaRPr lang="en-US" kern="0">
                <a:solidFill>
                  <a:schemeClr val="bg1">
                    <a:lumMod val="50000"/>
                  </a:schemeClr>
                </a:solidFill>
                <a:latin typeface="Bahnschrift Light SemiCondensed" panose="020B0502040204020203" pitchFamily="34" charset="0"/>
              </a:endParaRPr>
            </a:p>
          </p:txBody>
        </p:sp>
        <p:grpSp>
          <p:nvGrpSpPr>
            <p:cNvPr id="9" name="bcgIcons_Document ">
              <a:extLst>
                <a:ext uri="{FF2B5EF4-FFF2-40B4-BE49-F238E27FC236}">
                  <a16:creationId xmlns:a16="http://schemas.microsoft.com/office/drawing/2014/main" id="{E284ED29-7824-886C-B2A3-738921636765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6472718" y="3741864"/>
              <a:ext cx="698166" cy="697492"/>
              <a:chOff x="5273675" y="2606675"/>
              <a:chExt cx="1646238" cy="1644650"/>
            </a:xfrm>
          </p:grpSpPr>
          <p:sp>
            <p:nvSpPr>
              <p:cNvPr id="10" name="AutoShape 3">
                <a:extLst>
                  <a:ext uri="{FF2B5EF4-FFF2-40B4-BE49-F238E27FC236}">
                    <a16:creationId xmlns:a16="http://schemas.microsoft.com/office/drawing/2014/main" id="{1BA494E4-5C20-0F88-C1DA-1E4B4927C29F}"/>
                  </a:ext>
                </a:extLst>
              </p:cNvPr>
              <p:cNvSpPr>
                <a:spLocks noChangeAspect="1" noChangeArrowheads="1" noTextEdit="1"/>
              </p:cNvSpPr>
              <p:nvPr/>
            </p:nvSpPr>
            <p:spPr bwMode="auto">
              <a:xfrm>
                <a:off x="5273675" y="2606675"/>
                <a:ext cx="1646238" cy="164465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grpSp>
            <p:nvGrpSpPr>
              <p:cNvPr id="11" name="Group 124">
                <a:extLst>
                  <a:ext uri="{FF2B5EF4-FFF2-40B4-BE49-F238E27FC236}">
                    <a16:creationId xmlns:a16="http://schemas.microsoft.com/office/drawing/2014/main" id="{E7389FBD-3611-C572-41ED-3DF92C1D90FA}"/>
                  </a:ext>
                </a:extLst>
              </p:cNvPr>
              <p:cNvGrpSpPr/>
              <p:nvPr/>
            </p:nvGrpSpPr>
            <p:grpSpPr>
              <a:xfrm>
                <a:off x="5651500" y="2971800"/>
                <a:ext cx="892175" cy="1109663"/>
                <a:chOff x="5651500" y="2971800"/>
                <a:chExt cx="892175" cy="1109663"/>
              </a:xfrm>
            </p:grpSpPr>
            <p:sp>
              <p:nvSpPr>
                <p:cNvPr id="12" name="Freeform 20">
                  <a:extLst>
                    <a:ext uri="{FF2B5EF4-FFF2-40B4-BE49-F238E27FC236}">
                      <a16:creationId xmlns:a16="http://schemas.microsoft.com/office/drawing/2014/main" id="{D6E4D711-F039-E150-D837-9758D0FE05B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651500" y="2971800"/>
                  <a:ext cx="892175" cy="1109663"/>
                </a:xfrm>
                <a:custGeom>
                  <a:avLst/>
                  <a:gdLst>
                    <a:gd name="connsiteX0" fmla="*/ 30163 w 892175"/>
                    <a:gd name="connsiteY0" fmla="*/ 198438 h 1109663"/>
                    <a:gd name="connsiteX1" fmla="*/ 30163 w 892175"/>
                    <a:gd name="connsiteY1" fmla="*/ 1077913 h 1109663"/>
                    <a:gd name="connsiteX2" fmla="*/ 654051 w 892175"/>
                    <a:gd name="connsiteY2" fmla="*/ 1077913 h 1109663"/>
                    <a:gd name="connsiteX3" fmla="*/ 654051 w 892175"/>
                    <a:gd name="connsiteY3" fmla="*/ 942976 h 1109663"/>
                    <a:gd name="connsiteX4" fmla="*/ 654051 w 892175"/>
                    <a:gd name="connsiteY4" fmla="*/ 927101 h 1109663"/>
                    <a:gd name="connsiteX5" fmla="*/ 654051 w 892175"/>
                    <a:gd name="connsiteY5" fmla="*/ 911226 h 1109663"/>
                    <a:gd name="connsiteX6" fmla="*/ 654051 w 892175"/>
                    <a:gd name="connsiteY6" fmla="*/ 198438 h 1109663"/>
                    <a:gd name="connsiteX7" fmla="*/ 238126 w 892175"/>
                    <a:gd name="connsiteY7" fmla="*/ 198438 h 1109663"/>
                    <a:gd name="connsiteX8" fmla="*/ 222251 w 892175"/>
                    <a:gd name="connsiteY8" fmla="*/ 198438 h 1109663"/>
                    <a:gd name="connsiteX9" fmla="*/ 206376 w 892175"/>
                    <a:gd name="connsiteY9" fmla="*/ 198438 h 1109663"/>
                    <a:gd name="connsiteX10" fmla="*/ 238125 w 892175"/>
                    <a:gd name="connsiteY10" fmla="*/ 31750 h 1109663"/>
                    <a:gd name="connsiteX11" fmla="*/ 238125 w 892175"/>
                    <a:gd name="connsiteY11" fmla="*/ 166670 h 1109663"/>
                    <a:gd name="connsiteX12" fmla="*/ 670100 w 892175"/>
                    <a:gd name="connsiteY12" fmla="*/ 166670 h 1109663"/>
                    <a:gd name="connsiteX13" fmla="*/ 685782 w 892175"/>
                    <a:gd name="connsiteY13" fmla="*/ 182375 h 1109663"/>
                    <a:gd name="connsiteX14" fmla="*/ 685782 w 892175"/>
                    <a:gd name="connsiteY14" fmla="*/ 911225 h 1109663"/>
                    <a:gd name="connsiteX15" fmla="*/ 860425 w 892175"/>
                    <a:gd name="connsiteY15" fmla="*/ 911225 h 1109663"/>
                    <a:gd name="connsiteX16" fmla="*/ 860425 w 892175"/>
                    <a:gd name="connsiteY16" fmla="*/ 31750 h 1109663"/>
                    <a:gd name="connsiteX17" fmla="*/ 238125 w 892175"/>
                    <a:gd name="connsiteY17" fmla="*/ 31750 h 1109663"/>
                    <a:gd name="connsiteX18" fmla="*/ 221973 w 892175"/>
                    <a:gd name="connsiteY18" fmla="*/ 0 h 1109663"/>
                    <a:gd name="connsiteX19" fmla="*/ 876473 w 892175"/>
                    <a:gd name="connsiteY19" fmla="*/ 0 h 1109663"/>
                    <a:gd name="connsiteX20" fmla="*/ 892175 w 892175"/>
                    <a:gd name="connsiteY20" fmla="*/ 15720 h 1109663"/>
                    <a:gd name="connsiteX21" fmla="*/ 892175 w 892175"/>
                    <a:gd name="connsiteY21" fmla="*/ 927458 h 1109663"/>
                    <a:gd name="connsiteX22" fmla="*/ 876473 w 892175"/>
                    <a:gd name="connsiteY22" fmla="*/ 943178 h 1109663"/>
                    <a:gd name="connsiteX23" fmla="*/ 685904 w 892175"/>
                    <a:gd name="connsiteY23" fmla="*/ 943178 h 1109663"/>
                    <a:gd name="connsiteX24" fmla="*/ 685904 w 892175"/>
                    <a:gd name="connsiteY24" fmla="*/ 1093944 h 1109663"/>
                    <a:gd name="connsiteX25" fmla="*/ 670202 w 892175"/>
                    <a:gd name="connsiteY25" fmla="*/ 1109663 h 1109663"/>
                    <a:gd name="connsiteX26" fmla="*/ 15703 w 892175"/>
                    <a:gd name="connsiteY26" fmla="*/ 1109663 h 1109663"/>
                    <a:gd name="connsiteX27" fmla="*/ 0 w 892175"/>
                    <a:gd name="connsiteY27" fmla="*/ 1093944 h 1109663"/>
                    <a:gd name="connsiteX28" fmla="*/ 0 w 892175"/>
                    <a:gd name="connsiteY28" fmla="*/ 182205 h 1109663"/>
                    <a:gd name="connsiteX29" fmla="*/ 15703 w 892175"/>
                    <a:gd name="connsiteY29" fmla="*/ 166485 h 1109663"/>
                    <a:gd name="connsiteX30" fmla="*/ 206271 w 892175"/>
                    <a:gd name="connsiteY30" fmla="*/ 166485 h 1109663"/>
                    <a:gd name="connsiteX31" fmla="*/ 206271 w 892175"/>
                    <a:gd name="connsiteY31" fmla="*/ 15720 h 1109663"/>
                    <a:gd name="connsiteX32" fmla="*/ 221973 w 892175"/>
                    <a:gd name="connsiteY32" fmla="*/ 0 h 110966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</a:cxnLst>
                  <a:rect l="l" t="t" r="r" b="b"/>
                  <a:pathLst>
                    <a:path w="892175" h="1109663">
                      <a:moveTo>
                        <a:pt x="30163" y="198438"/>
                      </a:moveTo>
                      <a:lnTo>
                        <a:pt x="30163" y="1077913"/>
                      </a:lnTo>
                      <a:lnTo>
                        <a:pt x="654051" y="1077913"/>
                      </a:lnTo>
                      <a:lnTo>
                        <a:pt x="654051" y="942976"/>
                      </a:lnTo>
                      <a:lnTo>
                        <a:pt x="654051" y="927101"/>
                      </a:lnTo>
                      <a:lnTo>
                        <a:pt x="654051" y="911226"/>
                      </a:lnTo>
                      <a:lnTo>
                        <a:pt x="654051" y="198438"/>
                      </a:lnTo>
                      <a:lnTo>
                        <a:pt x="238126" y="198438"/>
                      </a:lnTo>
                      <a:lnTo>
                        <a:pt x="222251" y="198438"/>
                      </a:lnTo>
                      <a:lnTo>
                        <a:pt x="206376" y="198438"/>
                      </a:lnTo>
                      <a:close/>
                      <a:moveTo>
                        <a:pt x="238125" y="31750"/>
                      </a:moveTo>
                      <a:lnTo>
                        <a:pt x="238125" y="166670"/>
                      </a:lnTo>
                      <a:cubicBezTo>
                        <a:pt x="238125" y="166670"/>
                        <a:pt x="238125" y="166670"/>
                        <a:pt x="670100" y="166670"/>
                      </a:cubicBezTo>
                      <a:cubicBezTo>
                        <a:pt x="678654" y="166670"/>
                        <a:pt x="685782" y="173808"/>
                        <a:pt x="685782" y="182375"/>
                      </a:cubicBezTo>
                      <a:cubicBezTo>
                        <a:pt x="685782" y="182375"/>
                        <a:pt x="685782" y="182375"/>
                        <a:pt x="685782" y="911225"/>
                      </a:cubicBezTo>
                      <a:cubicBezTo>
                        <a:pt x="685782" y="911225"/>
                        <a:pt x="685782" y="911225"/>
                        <a:pt x="860425" y="911225"/>
                      </a:cubicBezTo>
                      <a:cubicBezTo>
                        <a:pt x="860425" y="911225"/>
                        <a:pt x="860425" y="911225"/>
                        <a:pt x="860425" y="31750"/>
                      </a:cubicBezTo>
                      <a:cubicBezTo>
                        <a:pt x="860425" y="31750"/>
                        <a:pt x="860425" y="31750"/>
                        <a:pt x="238125" y="31750"/>
                      </a:cubicBezTo>
                      <a:close/>
                      <a:moveTo>
                        <a:pt x="221973" y="0"/>
                      </a:moveTo>
                      <a:cubicBezTo>
                        <a:pt x="221973" y="0"/>
                        <a:pt x="221973" y="0"/>
                        <a:pt x="876473" y="0"/>
                      </a:cubicBezTo>
                      <a:cubicBezTo>
                        <a:pt x="885752" y="0"/>
                        <a:pt x="892175" y="7145"/>
                        <a:pt x="892175" y="15720"/>
                      </a:cubicBezTo>
                      <a:cubicBezTo>
                        <a:pt x="892175" y="15720"/>
                        <a:pt x="892175" y="15720"/>
                        <a:pt x="892175" y="927458"/>
                      </a:cubicBezTo>
                      <a:cubicBezTo>
                        <a:pt x="892175" y="936033"/>
                        <a:pt x="885752" y="943178"/>
                        <a:pt x="876473" y="943178"/>
                      </a:cubicBezTo>
                      <a:cubicBezTo>
                        <a:pt x="876473" y="943178"/>
                        <a:pt x="876473" y="943178"/>
                        <a:pt x="685904" y="943178"/>
                      </a:cubicBezTo>
                      <a:cubicBezTo>
                        <a:pt x="685904" y="943178"/>
                        <a:pt x="685904" y="943178"/>
                        <a:pt x="685904" y="1093944"/>
                      </a:cubicBezTo>
                      <a:cubicBezTo>
                        <a:pt x="685904" y="1102518"/>
                        <a:pt x="678767" y="1109663"/>
                        <a:pt x="670202" y="1109663"/>
                      </a:cubicBezTo>
                      <a:cubicBezTo>
                        <a:pt x="670202" y="1109663"/>
                        <a:pt x="670202" y="1109663"/>
                        <a:pt x="15703" y="1109663"/>
                      </a:cubicBezTo>
                      <a:cubicBezTo>
                        <a:pt x="6424" y="1109663"/>
                        <a:pt x="0" y="1102518"/>
                        <a:pt x="0" y="1093944"/>
                      </a:cubicBezTo>
                      <a:cubicBezTo>
                        <a:pt x="0" y="1093944"/>
                        <a:pt x="0" y="1093944"/>
                        <a:pt x="0" y="182205"/>
                      </a:cubicBezTo>
                      <a:cubicBezTo>
                        <a:pt x="0" y="173631"/>
                        <a:pt x="6424" y="166485"/>
                        <a:pt x="15703" y="166485"/>
                      </a:cubicBezTo>
                      <a:cubicBezTo>
                        <a:pt x="15703" y="166485"/>
                        <a:pt x="15703" y="166485"/>
                        <a:pt x="206271" y="166485"/>
                      </a:cubicBezTo>
                      <a:cubicBezTo>
                        <a:pt x="206271" y="166485"/>
                        <a:pt x="206271" y="166485"/>
                        <a:pt x="206271" y="15720"/>
                      </a:cubicBezTo>
                      <a:cubicBezTo>
                        <a:pt x="206271" y="7145"/>
                        <a:pt x="213409" y="0"/>
                        <a:pt x="221973" y="0"/>
                      </a:cubicBezTo>
                      <a:close/>
                    </a:path>
                  </a:pathLst>
                </a:custGeom>
                <a:solidFill>
                  <a:srgbClr val="C41300"/>
                </a:solidFill>
                <a:ln w="9525">
                  <a:solidFill>
                    <a:srgbClr val="40B3AA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en-US">
                    <a:latin typeface="Bahnschrift Light SemiCondensed" panose="020B0502040204020203" pitchFamily="34" charset="0"/>
                  </a:endParaRPr>
                </a:p>
              </p:txBody>
            </p:sp>
            <p:sp>
              <p:nvSpPr>
                <p:cNvPr id="13" name="Freeform 21">
                  <a:extLst>
                    <a:ext uri="{FF2B5EF4-FFF2-40B4-BE49-F238E27FC236}">
                      <a16:creationId xmlns:a16="http://schemas.microsoft.com/office/drawing/2014/main" id="{22825801-A373-2C70-45B3-E9536BCE5CB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767388" y="3287713"/>
                  <a:ext cx="454025" cy="646113"/>
                </a:xfrm>
                <a:custGeom>
                  <a:avLst/>
                  <a:gdLst>
                    <a:gd name="connsiteX0" fmla="*/ 15681 w 454025"/>
                    <a:gd name="connsiteY0" fmla="*/ 615950 h 646113"/>
                    <a:gd name="connsiteX1" fmla="*/ 91233 w 454025"/>
                    <a:gd name="connsiteY1" fmla="*/ 615950 h 646113"/>
                    <a:gd name="connsiteX2" fmla="*/ 439057 w 454025"/>
                    <a:gd name="connsiteY2" fmla="*/ 615950 h 646113"/>
                    <a:gd name="connsiteX3" fmla="*/ 453312 w 454025"/>
                    <a:gd name="connsiteY3" fmla="*/ 626472 h 646113"/>
                    <a:gd name="connsiteX4" fmla="*/ 454025 w 454025"/>
                    <a:gd name="connsiteY4" fmla="*/ 631382 h 646113"/>
                    <a:gd name="connsiteX5" fmla="*/ 454025 w 454025"/>
                    <a:gd name="connsiteY5" fmla="*/ 632785 h 646113"/>
                    <a:gd name="connsiteX6" fmla="*/ 444047 w 454025"/>
                    <a:gd name="connsiteY6" fmla="*/ 645412 h 646113"/>
                    <a:gd name="connsiteX7" fmla="*/ 442621 w 454025"/>
                    <a:gd name="connsiteY7" fmla="*/ 646113 h 646113"/>
                    <a:gd name="connsiteX8" fmla="*/ 441908 w 454025"/>
                    <a:gd name="connsiteY8" fmla="*/ 646113 h 646113"/>
                    <a:gd name="connsiteX9" fmla="*/ 439057 w 454025"/>
                    <a:gd name="connsiteY9" fmla="*/ 646113 h 646113"/>
                    <a:gd name="connsiteX10" fmla="*/ 15681 w 454025"/>
                    <a:gd name="connsiteY10" fmla="*/ 646113 h 646113"/>
                    <a:gd name="connsiteX11" fmla="*/ 14968 w 454025"/>
                    <a:gd name="connsiteY11" fmla="*/ 646113 h 646113"/>
                    <a:gd name="connsiteX12" fmla="*/ 0 w 454025"/>
                    <a:gd name="connsiteY12" fmla="*/ 631382 h 646113"/>
                    <a:gd name="connsiteX13" fmla="*/ 15681 w 454025"/>
                    <a:gd name="connsiteY13" fmla="*/ 615950 h 646113"/>
                    <a:gd name="connsiteX14" fmla="*/ 15681 w 454025"/>
                    <a:gd name="connsiteY14" fmla="*/ 512762 h 646113"/>
                    <a:gd name="connsiteX15" fmla="*/ 90520 w 454025"/>
                    <a:gd name="connsiteY15" fmla="*/ 512762 h 646113"/>
                    <a:gd name="connsiteX16" fmla="*/ 106201 w 454025"/>
                    <a:gd name="connsiteY16" fmla="*/ 512762 h 646113"/>
                    <a:gd name="connsiteX17" fmla="*/ 121881 w 454025"/>
                    <a:gd name="connsiteY17" fmla="*/ 512762 h 646113"/>
                    <a:gd name="connsiteX18" fmla="*/ 439057 w 454025"/>
                    <a:gd name="connsiteY18" fmla="*/ 512762 h 646113"/>
                    <a:gd name="connsiteX19" fmla="*/ 454025 w 454025"/>
                    <a:gd name="connsiteY19" fmla="*/ 528637 h 646113"/>
                    <a:gd name="connsiteX20" fmla="*/ 454025 w 454025"/>
                    <a:gd name="connsiteY20" fmla="*/ 531523 h 646113"/>
                    <a:gd name="connsiteX21" fmla="*/ 453312 w 454025"/>
                    <a:gd name="connsiteY21" fmla="*/ 532967 h 646113"/>
                    <a:gd name="connsiteX22" fmla="*/ 453312 w 454025"/>
                    <a:gd name="connsiteY22" fmla="*/ 533688 h 646113"/>
                    <a:gd name="connsiteX23" fmla="*/ 444047 w 454025"/>
                    <a:gd name="connsiteY23" fmla="*/ 543791 h 646113"/>
                    <a:gd name="connsiteX24" fmla="*/ 443334 w 454025"/>
                    <a:gd name="connsiteY24" fmla="*/ 543791 h 646113"/>
                    <a:gd name="connsiteX25" fmla="*/ 441908 w 454025"/>
                    <a:gd name="connsiteY25" fmla="*/ 544512 h 646113"/>
                    <a:gd name="connsiteX26" fmla="*/ 439057 w 454025"/>
                    <a:gd name="connsiteY26" fmla="*/ 544512 h 646113"/>
                    <a:gd name="connsiteX27" fmla="*/ 121881 w 454025"/>
                    <a:gd name="connsiteY27" fmla="*/ 544512 h 646113"/>
                    <a:gd name="connsiteX28" fmla="*/ 106201 w 454025"/>
                    <a:gd name="connsiteY28" fmla="*/ 544512 h 646113"/>
                    <a:gd name="connsiteX29" fmla="*/ 90520 w 454025"/>
                    <a:gd name="connsiteY29" fmla="*/ 544512 h 646113"/>
                    <a:gd name="connsiteX30" fmla="*/ 15681 w 454025"/>
                    <a:gd name="connsiteY30" fmla="*/ 544512 h 646113"/>
                    <a:gd name="connsiteX31" fmla="*/ 0 w 454025"/>
                    <a:gd name="connsiteY31" fmla="*/ 528637 h 646113"/>
                    <a:gd name="connsiteX32" fmla="*/ 15681 w 454025"/>
                    <a:gd name="connsiteY32" fmla="*/ 512762 h 646113"/>
                    <a:gd name="connsiteX33" fmla="*/ 15681 w 454025"/>
                    <a:gd name="connsiteY33" fmla="*/ 411162 h 646113"/>
                    <a:gd name="connsiteX34" fmla="*/ 90520 w 454025"/>
                    <a:gd name="connsiteY34" fmla="*/ 411162 h 646113"/>
                    <a:gd name="connsiteX35" fmla="*/ 106201 w 454025"/>
                    <a:gd name="connsiteY35" fmla="*/ 411162 h 646113"/>
                    <a:gd name="connsiteX36" fmla="*/ 121881 w 454025"/>
                    <a:gd name="connsiteY36" fmla="*/ 411162 h 646113"/>
                    <a:gd name="connsiteX37" fmla="*/ 439057 w 454025"/>
                    <a:gd name="connsiteY37" fmla="*/ 411162 h 646113"/>
                    <a:gd name="connsiteX38" fmla="*/ 454025 w 454025"/>
                    <a:gd name="connsiteY38" fmla="*/ 426594 h 646113"/>
                    <a:gd name="connsiteX39" fmla="*/ 439057 w 454025"/>
                    <a:gd name="connsiteY39" fmla="*/ 441325 h 646113"/>
                    <a:gd name="connsiteX40" fmla="*/ 121881 w 454025"/>
                    <a:gd name="connsiteY40" fmla="*/ 441325 h 646113"/>
                    <a:gd name="connsiteX41" fmla="*/ 106201 w 454025"/>
                    <a:gd name="connsiteY41" fmla="*/ 441325 h 646113"/>
                    <a:gd name="connsiteX42" fmla="*/ 90520 w 454025"/>
                    <a:gd name="connsiteY42" fmla="*/ 441325 h 646113"/>
                    <a:gd name="connsiteX43" fmla="*/ 15681 w 454025"/>
                    <a:gd name="connsiteY43" fmla="*/ 441325 h 646113"/>
                    <a:gd name="connsiteX44" fmla="*/ 0 w 454025"/>
                    <a:gd name="connsiteY44" fmla="*/ 426594 h 646113"/>
                    <a:gd name="connsiteX45" fmla="*/ 15681 w 454025"/>
                    <a:gd name="connsiteY45" fmla="*/ 411162 h 646113"/>
                    <a:gd name="connsiteX46" fmla="*/ 15681 w 454025"/>
                    <a:gd name="connsiteY46" fmla="*/ 307975 h 646113"/>
                    <a:gd name="connsiteX47" fmla="*/ 90520 w 454025"/>
                    <a:gd name="connsiteY47" fmla="*/ 307975 h 646113"/>
                    <a:gd name="connsiteX48" fmla="*/ 106201 w 454025"/>
                    <a:gd name="connsiteY48" fmla="*/ 307975 h 646113"/>
                    <a:gd name="connsiteX49" fmla="*/ 121881 w 454025"/>
                    <a:gd name="connsiteY49" fmla="*/ 307975 h 646113"/>
                    <a:gd name="connsiteX50" fmla="*/ 439057 w 454025"/>
                    <a:gd name="connsiteY50" fmla="*/ 307975 h 646113"/>
                    <a:gd name="connsiteX51" fmla="*/ 454025 w 454025"/>
                    <a:gd name="connsiteY51" fmla="*/ 323057 h 646113"/>
                    <a:gd name="connsiteX52" fmla="*/ 439057 w 454025"/>
                    <a:gd name="connsiteY52" fmla="*/ 338138 h 646113"/>
                    <a:gd name="connsiteX53" fmla="*/ 121881 w 454025"/>
                    <a:gd name="connsiteY53" fmla="*/ 338138 h 646113"/>
                    <a:gd name="connsiteX54" fmla="*/ 106201 w 454025"/>
                    <a:gd name="connsiteY54" fmla="*/ 338138 h 646113"/>
                    <a:gd name="connsiteX55" fmla="*/ 90520 w 454025"/>
                    <a:gd name="connsiteY55" fmla="*/ 338138 h 646113"/>
                    <a:gd name="connsiteX56" fmla="*/ 15681 w 454025"/>
                    <a:gd name="connsiteY56" fmla="*/ 338138 h 646113"/>
                    <a:gd name="connsiteX57" fmla="*/ 0 w 454025"/>
                    <a:gd name="connsiteY57" fmla="*/ 323057 h 646113"/>
                    <a:gd name="connsiteX58" fmla="*/ 15681 w 454025"/>
                    <a:gd name="connsiteY58" fmla="*/ 307975 h 646113"/>
                    <a:gd name="connsiteX59" fmla="*/ 15681 w 454025"/>
                    <a:gd name="connsiteY59" fmla="*/ 204787 h 646113"/>
                    <a:gd name="connsiteX60" fmla="*/ 90520 w 454025"/>
                    <a:gd name="connsiteY60" fmla="*/ 204787 h 646113"/>
                    <a:gd name="connsiteX61" fmla="*/ 106201 w 454025"/>
                    <a:gd name="connsiteY61" fmla="*/ 204787 h 646113"/>
                    <a:gd name="connsiteX62" fmla="*/ 121881 w 454025"/>
                    <a:gd name="connsiteY62" fmla="*/ 204787 h 646113"/>
                    <a:gd name="connsiteX63" fmla="*/ 439057 w 454025"/>
                    <a:gd name="connsiteY63" fmla="*/ 204787 h 646113"/>
                    <a:gd name="connsiteX64" fmla="*/ 454025 w 454025"/>
                    <a:gd name="connsiteY64" fmla="*/ 220219 h 646113"/>
                    <a:gd name="connsiteX65" fmla="*/ 439057 w 454025"/>
                    <a:gd name="connsiteY65" fmla="*/ 234950 h 646113"/>
                    <a:gd name="connsiteX66" fmla="*/ 121881 w 454025"/>
                    <a:gd name="connsiteY66" fmla="*/ 234950 h 646113"/>
                    <a:gd name="connsiteX67" fmla="*/ 106201 w 454025"/>
                    <a:gd name="connsiteY67" fmla="*/ 234950 h 646113"/>
                    <a:gd name="connsiteX68" fmla="*/ 90520 w 454025"/>
                    <a:gd name="connsiteY68" fmla="*/ 234950 h 646113"/>
                    <a:gd name="connsiteX69" fmla="*/ 15681 w 454025"/>
                    <a:gd name="connsiteY69" fmla="*/ 234950 h 646113"/>
                    <a:gd name="connsiteX70" fmla="*/ 0 w 454025"/>
                    <a:gd name="connsiteY70" fmla="*/ 220219 h 646113"/>
                    <a:gd name="connsiteX71" fmla="*/ 15681 w 454025"/>
                    <a:gd name="connsiteY71" fmla="*/ 204787 h 646113"/>
                    <a:gd name="connsiteX72" fmla="*/ 15681 w 454025"/>
                    <a:gd name="connsiteY72" fmla="*/ 101600 h 646113"/>
                    <a:gd name="connsiteX73" fmla="*/ 90520 w 454025"/>
                    <a:gd name="connsiteY73" fmla="*/ 101600 h 646113"/>
                    <a:gd name="connsiteX74" fmla="*/ 106201 w 454025"/>
                    <a:gd name="connsiteY74" fmla="*/ 101600 h 646113"/>
                    <a:gd name="connsiteX75" fmla="*/ 121881 w 454025"/>
                    <a:gd name="connsiteY75" fmla="*/ 101600 h 646113"/>
                    <a:gd name="connsiteX76" fmla="*/ 439057 w 454025"/>
                    <a:gd name="connsiteY76" fmla="*/ 101600 h 646113"/>
                    <a:gd name="connsiteX77" fmla="*/ 454025 w 454025"/>
                    <a:gd name="connsiteY77" fmla="*/ 117475 h 646113"/>
                    <a:gd name="connsiteX78" fmla="*/ 439057 w 454025"/>
                    <a:gd name="connsiteY78" fmla="*/ 133350 h 646113"/>
                    <a:gd name="connsiteX79" fmla="*/ 121881 w 454025"/>
                    <a:gd name="connsiteY79" fmla="*/ 133350 h 646113"/>
                    <a:gd name="connsiteX80" fmla="*/ 106201 w 454025"/>
                    <a:gd name="connsiteY80" fmla="*/ 133350 h 646113"/>
                    <a:gd name="connsiteX81" fmla="*/ 90520 w 454025"/>
                    <a:gd name="connsiteY81" fmla="*/ 133350 h 646113"/>
                    <a:gd name="connsiteX82" fmla="*/ 15681 w 454025"/>
                    <a:gd name="connsiteY82" fmla="*/ 133350 h 646113"/>
                    <a:gd name="connsiteX83" fmla="*/ 0 w 454025"/>
                    <a:gd name="connsiteY83" fmla="*/ 117475 h 646113"/>
                    <a:gd name="connsiteX84" fmla="*/ 15681 w 454025"/>
                    <a:gd name="connsiteY84" fmla="*/ 101600 h 646113"/>
                    <a:gd name="connsiteX85" fmla="*/ 15681 w 454025"/>
                    <a:gd name="connsiteY85" fmla="*/ 0 h 646113"/>
                    <a:gd name="connsiteX86" fmla="*/ 90520 w 454025"/>
                    <a:gd name="connsiteY86" fmla="*/ 0 h 646113"/>
                    <a:gd name="connsiteX87" fmla="*/ 106201 w 454025"/>
                    <a:gd name="connsiteY87" fmla="*/ 0 h 646113"/>
                    <a:gd name="connsiteX88" fmla="*/ 121881 w 454025"/>
                    <a:gd name="connsiteY88" fmla="*/ 0 h 646113"/>
                    <a:gd name="connsiteX89" fmla="*/ 439057 w 454025"/>
                    <a:gd name="connsiteY89" fmla="*/ 0 h 646113"/>
                    <a:gd name="connsiteX90" fmla="*/ 454025 w 454025"/>
                    <a:gd name="connsiteY90" fmla="*/ 15432 h 646113"/>
                    <a:gd name="connsiteX91" fmla="*/ 439057 w 454025"/>
                    <a:gd name="connsiteY91" fmla="*/ 30163 h 646113"/>
                    <a:gd name="connsiteX92" fmla="*/ 121881 w 454025"/>
                    <a:gd name="connsiteY92" fmla="*/ 30163 h 646113"/>
                    <a:gd name="connsiteX93" fmla="*/ 106201 w 454025"/>
                    <a:gd name="connsiteY93" fmla="*/ 30163 h 646113"/>
                    <a:gd name="connsiteX94" fmla="*/ 90520 w 454025"/>
                    <a:gd name="connsiteY94" fmla="*/ 30163 h 646113"/>
                    <a:gd name="connsiteX95" fmla="*/ 15681 w 454025"/>
                    <a:gd name="connsiteY95" fmla="*/ 30163 h 646113"/>
                    <a:gd name="connsiteX96" fmla="*/ 0 w 454025"/>
                    <a:gd name="connsiteY96" fmla="*/ 15432 h 646113"/>
                    <a:gd name="connsiteX97" fmla="*/ 15681 w 454025"/>
                    <a:gd name="connsiteY97" fmla="*/ 0 h 64611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  <a:cxn ang="0">
                      <a:pos x="connsiteX86" y="connsiteY86"/>
                    </a:cxn>
                    <a:cxn ang="0">
                      <a:pos x="connsiteX87" y="connsiteY87"/>
                    </a:cxn>
                    <a:cxn ang="0">
                      <a:pos x="connsiteX88" y="connsiteY88"/>
                    </a:cxn>
                    <a:cxn ang="0">
                      <a:pos x="connsiteX89" y="connsiteY89"/>
                    </a:cxn>
                    <a:cxn ang="0">
                      <a:pos x="connsiteX90" y="connsiteY90"/>
                    </a:cxn>
                    <a:cxn ang="0">
                      <a:pos x="connsiteX91" y="connsiteY91"/>
                    </a:cxn>
                    <a:cxn ang="0">
                      <a:pos x="connsiteX92" y="connsiteY92"/>
                    </a:cxn>
                    <a:cxn ang="0">
                      <a:pos x="connsiteX93" y="connsiteY93"/>
                    </a:cxn>
                    <a:cxn ang="0">
                      <a:pos x="connsiteX94" y="connsiteY94"/>
                    </a:cxn>
                    <a:cxn ang="0">
                      <a:pos x="connsiteX95" y="connsiteY95"/>
                    </a:cxn>
                    <a:cxn ang="0">
                      <a:pos x="connsiteX96" y="connsiteY96"/>
                    </a:cxn>
                    <a:cxn ang="0">
                      <a:pos x="connsiteX97" y="connsiteY97"/>
                    </a:cxn>
                  </a:cxnLst>
                  <a:rect l="l" t="t" r="r" b="b"/>
                  <a:pathLst>
                    <a:path w="454025" h="646113">
                      <a:moveTo>
                        <a:pt x="15681" y="615950"/>
                      </a:moveTo>
                      <a:cubicBezTo>
                        <a:pt x="42766" y="615950"/>
                        <a:pt x="67712" y="615950"/>
                        <a:pt x="91233" y="615950"/>
                      </a:cubicBezTo>
                      <a:cubicBezTo>
                        <a:pt x="439057" y="615950"/>
                        <a:pt x="439057" y="615950"/>
                        <a:pt x="439057" y="615950"/>
                      </a:cubicBezTo>
                      <a:cubicBezTo>
                        <a:pt x="446185" y="615950"/>
                        <a:pt x="451887" y="620159"/>
                        <a:pt x="453312" y="626472"/>
                      </a:cubicBezTo>
                      <a:cubicBezTo>
                        <a:pt x="454025" y="627875"/>
                        <a:pt x="454025" y="629278"/>
                        <a:pt x="454025" y="631382"/>
                      </a:cubicBezTo>
                      <a:cubicBezTo>
                        <a:pt x="454025" y="632084"/>
                        <a:pt x="454025" y="632084"/>
                        <a:pt x="454025" y="632785"/>
                      </a:cubicBezTo>
                      <a:cubicBezTo>
                        <a:pt x="453312" y="638397"/>
                        <a:pt x="449749" y="643307"/>
                        <a:pt x="444047" y="645412"/>
                      </a:cubicBezTo>
                      <a:cubicBezTo>
                        <a:pt x="444047" y="645412"/>
                        <a:pt x="443334" y="646113"/>
                        <a:pt x="442621" y="646113"/>
                      </a:cubicBezTo>
                      <a:cubicBezTo>
                        <a:pt x="442621" y="646113"/>
                        <a:pt x="441908" y="646113"/>
                        <a:pt x="441908" y="646113"/>
                      </a:cubicBezTo>
                      <a:cubicBezTo>
                        <a:pt x="441196" y="646113"/>
                        <a:pt x="439770" y="646113"/>
                        <a:pt x="439057" y="646113"/>
                      </a:cubicBezTo>
                      <a:cubicBezTo>
                        <a:pt x="15681" y="646113"/>
                        <a:pt x="15681" y="646113"/>
                        <a:pt x="15681" y="646113"/>
                      </a:cubicBezTo>
                      <a:cubicBezTo>
                        <a:pt x="15681" y="646113"/>
                        <a:pt x="14968" y="646113"/>
                        <a:pt x="14968" y="646113"/>
                      </a:cubicBezTo>
                      <a:cubicBezTo>
                        <a:pt x="7128" y="646113"/>
                        <a:pt x="713" y="639800"/>
                        <a:pt x="0" y="631382"/>
                      </a:cubicBezTo>
                      <a:cubicBezTo>
                        <a:pt x="0" y="622965"/>
                        <a:pt x="7128" y="615950"/>
                        <a:pt x="15681" y="615950"/>
                      </a:cubicBezTo>
                      <a:close/>
                      <a:moveTo>
                        <a:pt x="15681" y="512762"/>
                      </a:moveTo>
                      <a:cubicBezTo>
                        <a:pt x="42053" y="512762"/>
                        <a:pt x="67712" y="512762"/>
                        <a:pt x="90520" y="512762"/>
                      </a:cubicBezTo>
                      <a:cubicBezTo>
                        <a:pt x="96222" y="512762"/>
                        <a:pt x="101211" y="512762"/>
                        <a:pt x="106201" y="512762"/>
                      </a:cubicBezTo>
                      <a:cubicBezTo>
                        <a:pt x="111903" y="512762"/>
                        <a:pt x="116892" y="512762"/>
                        <a:pt x="121881" y="512762"/>
                      </a:cubicBezTo>
                      <a:cubicBezTo>
                        <a:pt x="439057" y="512762"/>
                        <a:pt x="439057" y="512762"/>
                        <a:pt x="439057" y="512762"/>
                      </a:cubicBezTo>
                      <a:cubicBezTo>
                        <a:pt x="447610" y="512762"/>
                        <a:pt x="454025" y="519978"/>
                        <a:pt x="454025" y="528637"/>
                      </a:cubicBezTo>
                      <a:cubicBezTo>
                        <a:pt x="454025" y="530080"/>
                        <a:pt x="454025" y="530802"/>
                        <a:pt x="454025" y="531523"/>
                      </a:cubicBezTo>
                      <a:cubicBezTo>
                        <a:pt x="454025" y="532245"/>
                        <a:pt x="454025" y="532967"/>
                        <a:pt x="453312" y="532967"/>
                      </a:cubicBezTo>
                      <a:cubicBezTo>
                        <a:pt x="453312" y="533688"/>
                        <a:pt x="453312" y="533688"/>
                        <a:pt x="453312" y="533688"/>
                      </a:cubicBezTo>
                      <a:cubicBezTo>
                        <a:pt x="451887" y="538739"/>
                        <a:pt x="449036" y="542347"/>
                        <a:pt x="444047" y="543791"/>
                      </a:cubicBezTo>
                      <a:cubicBezTo>
                        <a:pt x="443334" y="543791"/>
                        <a:pt x="443334" y="543791"/>
                        <a:pt x="443334" y="543791"/>
                      </a:cubicBezTo>
                      <a:cubicBezTo>
                        <a:pt x="442621" y="543791"/>
                        <a:pt x="441908" y="543791"/>
                        <a:pt x="441908" y="544512"/>
                      </a:cubicBezTo>
                      <a:cubicBezTo>
                        <a:pt x="440483" y="544512"/>
                        <a:pt x="439770" y="544512"/>
                        <a:pt x="439057" y="544512"/>
                      </a:cubicBezTo>
                      <a:cubicBezTo>
                        <a:pt x="282964" y="544512"/>
                        <a:pt x="184604" y="544512"/>
                        <a:pt x="121881" y="544512"/>
                      </a:cubicBezTo>
                      <a:cubicBezTo>
                        <a:pt x="116892" y="544512"/>
                        <a:pt x="111190" y="544512"/>
                        <a:pt x="106201" y="544512"/>
                      </a:cubicBezTo>
                      <a:cubicBezTo>
                        <a:pt x="101211" y="544512"/>
                        <a:pt x="95509" y="544512"/>
                        <a:pt x="90520" y="544512"/>
                      </a:cubicBezTo>
                      <a:cubicBezTo>
                        <a:pt x="15681" y="544512"/>
                        <a:pt x="15681" y="544512"/>
                        <a:pt x="15681" y="544512"/>
                      </a:cubicBezTo>
                      <a:cubicBezTo>
                        <a:pt x="7128" y="544512"/>
                        <a:pt x="0" y="538018"/>
                        <a:pt x="0" y="528637"/>
                      </a:cubicBezTo>
                      <a:cubicBezTo>
                        <a:pt x="0" y="519978"/>
                        <a:pt x="7128" y="512762"/>
                        <a:pt x="15681" y="512762"/>
                      </a:cubicBezTo>
                      <a:close/>
                      <a:moveTo>
                        <a:pt x="15681" y="411162"/>
                      </a:moveTo>
                      <a:cubicBezTo>
                        <a:pt x="42053" y="411162"/>
                        <a:pt x="67712" y="411162"/>
                        <a:pt x="90520" y="411162"/>
                      </a:cubicBezTo>
                      <a:cubicBezTo>
                        <a:pt x="96222" y="411162"/>
                        <a:pt x="101211" y="411162"/>
                        <a:pt x="106201" y="411162"/>
                      </a:cubicBezTo>
                      <a:cubicBezTo>
                        <a:pt x="111903" y="411162"/>
                        <a:pt x="116892" y="411162"/>
                        <a:pt x="121881" y="411162"/>
                      </a:cubicBezTo>
                      <a:cubicBezTo>
                        <a:pt x="439057" y="411162"/>
                        <a:pt x="439057" y="411162"/>
                        <a:pt x="439057" y="411162"/>
                      </a:cubicBezTo>
                      <a:cubicBezTo>
                        <a:pt x="447610" y="411162"/>
                        <a:pt x="454025" y="418177"/>
                        <a:pt x="454025" y="426594"/>
                      </a:cubicBezTo>
                      <a:cubicBezTo>
                        <a:pt x="454025" y="435012"/>
                        <a:pt x="447610" y="441325"/>
                        <a:pt x="439057" y="441325"/>
                      </a:cubicBezTo>
                      <a:cubicBezTo>
                        <a:pt x="282964" y="441325"/>
                        <a:pt x="184604" y="441325"/>
                        <a:pt x="121881" y="441325"/>
                      </a:cubicBezTo>
                      <a:cubicBezTo>
                        <a:pt x="116892" y="441325"/>
                        <a:pt x="111190" y="441325"/>
                        <a:pt x="106201" y="441325"/>
                      </a:cubicBezTo>
                      <a:cubicBezTo>
                        <a:pt x="101211" y="441325"/>
                        <a:pt x="95509" y="441325"/>
                        <a:pt x="90520" y="441325"/>
                      </a:cubicBezTo>
                      <a:cubicBezTo>
                        <a:pt x="15681" y="441325"/>
                        <a:pt x="15681" y="441325"/>
                        <a:pt x="15681" y="441325"/>
                      </a:cubicBezTo>
                      <a:cubicBezTo>
                        <a:pt x="7128" y="441325"/>
                        <a:pt x="0" y="435012"/>
                        <a:pt x="0" y="426594"/>
                      </a:cubicBezTo>
                      <a:cubicBezTo>
                        <a:pt x="0" y="418177"/>
                        <a:pt x="7128" y="411162"/>
                        <a:pt x="15681" y="411162"/>
                      </a:cubicBezTo>
                      <a:close/>
                      <a:moveTo>
                        <a:pt x="15681" y="307975"/>
                      </a:moveTo>
                      <a:cubicBezTo>
                        <a:pt x="42053" y="307975"/>
                        <a:pt x="67712" y="307975"/>
                        <a:pt x="90520" y="307975"/>
                      </a:cubicBezTo>
                      <a:cubicBezTo>
                        <a:pt x="96222" y="307975"/>
                        <a:pt x="101211" y="307975"/>
                        <a:pt x="106201" y="307975"/>
                      </a:cubicBezTo>
                      <a:cubicBezTo>
                        <a:pt x="111903" y="307975"/>
                        <a:pt x="116892" y="307975"/>
                        <a:pt x="121881" y="307975"/>
                      </a:cubicBezTo>
                      <a:cubicBezTo>
                        <a:pt x="439057" y="307975"/>
                        <a:pt x="439057" y="307975"/>
                        <a:pt x="439057" y="307975"/>
                      </a:cubicBezTo>
                      <a:cubicBezTo>
                        <a:pt x="447610" y="307975"/>
                        <a:pt x="454025" y="315157"/>
                        <a:pt x="454025" y="323057"/>
                      </a:cubicBezTo>
                      <a:cubicBezTo>
                        <a:pt x="454025" y="330956"/>
                        <a:pt x="447610" y="338138"/>
                        <a:pt x="439057" y="338138"/>
                      </a:cubicBezTo>
                      <a:cubicBezTo>
                        <a:pt x="282964" y="338138"/>
                        <a:pt x="184604" y="338138"/>
                        <a:pt x="121881" y="338138"/>
                      </a:cubicBezTo>
                      <a:cubicBezTo>
                        <a:pt x="116892" y="338138"/>
                        <a:pt x="111190" y="338138"/>
                        <a:pt x="106201" y="338138"/>
                      </a:cubicBezTo>
                      <a:cubicBezTo>
                        <a:pt x="101211" y="338138"/>
                        <a:pt x="95509" y="338138"/>
                        <a:pt x="90520" y="338138"/>
                      </a:cubicBezTo>
                      <a:cubicBezTo>
                        <a:pt x="15681" y="338138"/>
                        <a:pt x="15681" y="338138"/>
                        <a:pt x="15681" y="338138"/>
                      </a:cubicBezTo>
                      <a:cubicBezTo>
                        <a:pt x="7128" y="338138"/>
                        <a:pt x="0" y="330956"/>
                        <a:pt x="0" y="323057"/>
                      </a:cubicBezTo>
                      <a:cubicBezTo>
                        <a:pt x="0" y="315157"/>
                        <a:pt x="7128" y="307975"/>
                        <a:pt x="15681" y="307975"/>
                      </a:cubicBezTo>
                      <a:close/>
                      <a:moveTo>
                        <a:pt x="15681" y="204787"/>
                      </a:moveTo>
                      <a:cubicBezTo>
                        <a:pt x="42053" y="204787"/>
                        <a:pt x="67712" y="204787"/>
                        <a:pt x="90520" y="204787"/>
                      </a:cubicBezTo>
                      <a:cubicBezTo>
                        <a:pt x="96222" y="204787"/>
                        <a:pt x="101211" y="204787"/>
                        <a:pt x="106201" y="204787"/>
                      </a:cubicBezTo>
                      <a:cubicBezTo>
                        <a:pt x="111903" y="204787"/>
                        <a:pt x="116892" y="204787"/>
                        <a:pt x="121881" y="204787"/>
                      </a:cubicBezTo>
                      <a:cubicBezTo>
                        <a:pt x="439057" y="204787"/>
                        <a:pt x="439057" y="204787"/>
                        <a:pt x="439057" y="204787"/>
                      </a:cubicBezTo>
                      <a:cubicBezTo>
                        <a:pt x="447610" y="204787"/>
                        <a:pt x="454025" y="211802"/>
                        <a:pt x="454025" y="220219"/>
                      </a:cubicBezTo>
                      <a:cubicBezTo>
                        <a:pt x="454025" y="227935"/>
                        <a:pt x="447610" y="234950"/>
                        <a:pt x="439057" y="234950"/>
                      </a:cubicBezTo>
                      <a:cubicBezTo>
                        <a:pt x="282964" y="234950"/>
                        <a:pt x="184604" y="234950"/>
                        <a:pt x="121881" y="234950"/>
                      </a:cubicBezTo>
                      <a:cubicBezTo>
                        <a:pt x="116892" y="234950"/>
                        <a:pt x="111190" y="234950"/>
                        <a:pt x="106201" y="234950"/>
                      </a:cubicBezTo>
                      <a:cubicBezTo>
                        <a:pt x="101211" y="234950"/>
                        <a:pt x="95509" y="234950"/>
                        <a:pt x="90520" y="234950"/>
                      </a:cubicBezTo>
                      <a:cubicBezTo>
                        <a:pt x="15681" y="234950"/>
                        <a:pt x="15681" y="234950"/>
                        <a:pt x="15681" y="234950"/>
                      </a:cubicBezTo>
                      <a:cubicBezTo>
                        <a:pt x="7128" y="234950"/>
                        <a:pt x="0" y="227935"/>
                        <a:pt x="0" y="220219"/>
                      </a:cubicBezTo>
                      <a:cubicBezTo>
                        <a:pt x="0" y="211802"/>
                        <a:pt x="7128" y="204787"/>
                        <a:pt x="15681" y="204787"/>
                      </a:cubicBezTo>
                      <a:close/>
                      <a:moveTo>
                        <a:pt x="15681" y="101600"/>
                      </a:moveTo>
                      <a:cubicBezTo>
                        <a:pt x="42053" y="101600"/>
                        <a:pt x="67712" y="101600"/>
                        <a:pt x="90520" y="101600"/>
                      </a:cubicBezTo>
                      <a:cubicBezTo>
                        <a:pt x="96222" y="101600"/>
                        <a:pt x="101211" y="101600"/>
                        <a:pt x="106201" y="101600"/>
                      </a:cubicBezTo>
                      <a:cubicBezTo>
                        <a:pt x="111903" y="101600"/>
                        <a:pt x="116892" y="101600"/>
                        <a:pt x="121881" y="101600"/>
                      </a:cubicBezTo>
                      <a:cubicBezTo>
                        <a:pt x="439057" y="101600"/>
                        <a:pt x="439057" y="101600"/>
                        <a:pt x="439057" y="101600"/>
                      </a:cubicBezTo>
                      <a:cubicBezTo>
                        <a:pt x="447610" y="101600"/>
                        <a:pt x="454025" y="108816"/>
                        <a:pt x="454025" y="117475"/>
                      </a:cubicBezTo>
                      <a:cubicBezTo>
                        <a:pt x="454025" y="126134"/>
                        <a:pt x="447610" y="133350"/>
                        <a:pt x="439057" y="133350"/>
                      </a:cubicBezTo>
                      <a:cubicBezTo>
                        <a:pt x="282964" y="133350"/>
                        <a:pt x="184604" y="133350"/>
                        <a:pt x="121881" y="133350"/>
                      </a:cubicBezTo>
                      <a:cubicBezTo>
                        <a:pt x="116892" y="133350"/>
                        <a:pt x="111190" y="133350"/>
                        <a:pt x="106201" y="133350"/>
                      </a:cubicBezTo>
                      <a:cubicBezTo>
                        <a:pt x="101211" y="133350"/>
                        <a:pt x="95509" y="133350"/>
                        <a:pt x="90520" y="133350"/>
                      </a:cubicBezTo>
                      <a:cubicBezTo>
                        <a:pt x="15681" y="133350"/>
                        <a:pt x="15681" y="133350"/>
                        <a:pt x="15681" y="133350"/>
                      </a:cubicBezTo>
                      <a:cubicBezTo>
                        <a:pt x="7128" y="133350"/>
                        <a:pt x="0" y="126134"/>
                        <a:pt x="0" y="117475"/>
                      </a:cubicBezTo>
                      <a:cubicBezTo>
                        <a:pt x="0" y="108816"/>
                        <a:pt x="7128" y="101600"/>
                        <a:pt x="15681" y="101600"/>
                      </a:cubicBezTo>
                      <a:close/>
                      <a:moveTo>
                        <a:pt x="15681" y="0"/>
                      </a:moveTo>
                      <a:cubicBezTo>
                        <a:pt x="42053" y="0"/>
                        <a:pt x="67712" y="0"/>
                        <a:pt x="90520" y="0"/>
                      </a:cubicBezTo>
                      <a:cubicBezTo>
                        <a:pt x="96222" y="0"/>
                        <a:pt x="101211" y="0"/>
                        <a:pt x="106201" y="0"/>
                      </a:cubicBezTo>
                      <a:cubicBezTo>
                        <a:pt x="111903" y="0"/>
                        <a:pt x="116892" y="0"/>
                        <a:pt x="121881" y="0"/>
                      </a:cubicBezTo>
                      <a:cubicBezTo>
                        <a:pt x="439057" y="0"/>
                        <a:pt x="439057" y="0"/>
                        <a:pt x="439057" y="0"/>
                      </a:cubicBezTo>
                      <a:cubicBezTo>
                        <a:pt x="447610" y="0"/>
                        <a:pt x="454025" y="6313"/>
                        <a:pt x="454025" y="15432"/>
                      </a:cubicBezTo>
                      <a:cubicBezTo>
                        <a:pt x="454025" y="23148"/>
                        <a:pt x="447610" y="30163"/>
                        <a:pt x="439057" y="30163"/>
                      </a:cubicBezTo>
                      <a:cubicBezTo>
                        <a:pt x="282964" y="30163"/>
                        <a:pt x="184604" y="30163"/>
                        <a:pt x="121881" y="30163"/>
                      </a:cubicBezTo>
                      <a:cubicBezTo>
                        <a:pt x="116892" y="30163"/>
                        <a:pt x="111190" y="30163"/>
                        <a:pt x="106201" y="30163"/>
                      </a:cubicBezTo>
                      <a:cubicBezTo>
                        <a:pt x="101211" y="30163"/>
                        <a:pt x="95509" y="30163"/>
                        <a:pt x="90520" y="30163"/>
                      </a:cubicBezTo>
                      <a:cubicBezTo>
                        <a:pt x="15681" y="30163"/>
                        <a:pt x="15681" y="30163"/>
                        <a:pt x="15681" y="30163"/>
                      </a:cubicBezTo>
                      <a:cubicBezTo>
                        <a:pt x="7128" y="30163"/>
                        <a:pt x="0" y="23148"/>
                        <a:pt x="0" y="15432"/>
                      </a:cubicBezTo>
                      <a:cubicBezTo>
                        <a:pt x="0" y="6313"/>
                        <a:pt x="7128" y="0"/>
                        <a:pt x="15681" y="0"/>
                      </a:cubicBezTo>
                      <a:close/>
                    </a:path>
                  </a:pathLst>
                </a:custGeom>
                <a:solidFill>
                  <a:srgbClr val="E71C57"/>
                </a:solidFill>
                <a:ln w="9525">
                  <a:solidFill>
                    <a:srgbClr val="40B3AA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en-US">
                    <a:latin typeface="Bahnschrift Light SemiCondensed" panose="020B0502040204020203" pitchFamily="34" charset="0"/>
                  </a:endParaRPr>
                </a:p>
              </p:txBody>
            </p:sp>
          </p:grpSp>
        </p:grpSp>
      </p:grpSp>
      <p:grpSp>
        <p:nvGrpSpPr>
          <p:cNvPr id="17" name="bcgIcons_Group Collaboration ">
            <a:extLst>
              <a:ext uri="{FF2B5EF4-FFF2-40B4-BE49-F238E27FC236}">
                <a16:creationId xmlns:a16="http://schemas.microsoft.com/office/drawing/2014/main" id="{AC515F66-5A95-A91E-EC62-92D06C67DCA9}"/>
              </a:ext>
            </a:extLst>
          </p:cNvPr>
          <p:cNvGrpSpPr>
            <a:grpSpLocks noChangeAspect="1"/>
          </p:cNvGrpSpPr>
          <p:nvPr/>
        </p:nvGrpSpPr>
        <p:grpSpPr>
          <a:xfrm>
            <a:off x="1053589" y="973398"/>
            <a:ext cx="621520" cy="621520"/>
            <a:chOff x="5273803" y="2606803"/>
            <a:chExt cx="1645920" cy="1645920"/>
          </a:xfrm>
        </p:grpSpPr>
        <p:sp>
          <p:nvSpPr>
            <p:cNvPr id="18" name="AutoShape 23">
              <a:extLst>
                <a:ext uri="{FF2B5EF4-FFF2-40B4-BE49-F238E27FC236}">
                  <a16:creationId xmlns:a16="http://schemas.microsoft.com/office/drawing/2014/main" id="{2D496134-0C66-678F-4E6D-851D6A8338E4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5273803" y="2606803"/>
              <a:ext cx="1645920" cy="16459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19" name="Group 15">
              <a:extLst>
                <a:ext uri="{FF2B5EF4-FFF2-40B4-BE49-F238E27FC236}">
                  <a16:creationId xmlns:a16="http://schemas.microsoft.com/office/drawing/2014/main" id="{A9E48489-93C9-BC1C-2EC9-8615EE16C7EF}"/>
                </a:ext>
              </a:extLst>
            </p:cNvPr>
            <p:cNvGrpSpPr/>
            <p:nvPr/>
          </p:nvGrpSpPr>
          <p:grpSpPr>
            <a:xfrm>
              <a:off x="5484691" y="2758822"/>
              <a:ext cx="1224143" cy="1341882"/>
              <a:chOff x="5355525" y="2801969"/>
              <a:chExt cx="1522662" cy="1670659"/>
            </a:xfrm>
          </p:grpSpPr>
          <p:sp>
            <p:nvSpPr>
              <p:cNvPr id="20" name="Freeform 25">
                <a:extLst>
                  <a:ext uri="{FF2B5EF4-FFF2-40B4-BE49-F238E27FC236}">
                    <a16:creationId xmlns:a16="http://schemas.microsoft.com/office/drawing/2014/main" id="{6E6996FF-FEC1-771C-A7B9-084DB21F743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55525" y="3100809"/>
                <a:ext cx="1522662" cy="1371819"/>
              </a:xfrm>
              <a:custGeom>
                <a:avLst/>
                <a:gdLst>
                  <a:gd name="T0" fmla="*/ 773 w 1714"/>
                  <a:gd name="T1" fmla="*/ 454 h 1542"/>
                  <a:gd name="T2" fmla="*/ 493 w 1714"/>
                  <a:gd name="T3" fmla="*/ 368 h 1542"/>
                  <a:gd name="T4" fmla="*/ 258 w 1714"/>
                  <a:gd name="T5" fmla="*/ 0 h 1542"/>
                  <a:gd name="T6" fmla="*/ 258 w 1714"/>
                  <a:gd name="T7" fmla="*/ 517 h 1542"/>
                  <a:gd name="T8" fmla="*/ 717 w 1714"/>
                  <a:gd name="T9" fmla="*/ 548 h 1542"/>
                  <a:gd name="T10" fmla="*/ 747 w 1714"/>
                  <a:gd name="T11" fmla="*/ 540 h 1542"/>
                  <a:gd name="T12" fmla="*/ 794 w 1714"/>
                  <a:gd name="T13" fmla="*/ 492 h 1542"/>
                  <a:gd name="T14" fmla="*/ 402 w 1714"/>
                  <a:gd name="T15" fmla="*/ 273 h 1542"/>
                  <a:gd name="T16" fmla="*/ 373 w 1714"/>
                  <a:gd name="T17" fmla="*/ 331 h 1542"/>
                  <a:gd name="T18" fmla="*/ 363 w 1714"/>
                  <a:gd name="T19" fmla="*/ 367 h 1542"/>
                  <a:gd name="T20" fmla="*/ 301 w 1714"/>
                  <a:gd name="T21" fmla="*/ 423 h 1542"/>
                  <a:gd name="T22" fmla="*/ 294 w 1714"/>
                  <a:gd name="T23" fmla="*/ 430 h 1542"/>
                  <a:gd name="T24" fmla="*/ 169 w 1714"/>
                  <a:gd name="T25" fmla="*/ 402 h 1542"/>
                  <a:gd name="T26" fmla="*/ 125 w 1714"/>
                  <a:gd name="T27" fmla="*/ 167 h 1542"/>
                  <a:gd name="T28" fmla="*/ 385 w 1714"/>
                  <a:gd name="T29" fmla="*/ 107 h 1542"/>
                  <a:gd name="T30" fmla="*/ 364 w 1714"/>
                  <a:gd name="T31" fmla="*/ 151 h 1542"/>
                  <a:gd name="T32" fmla="*/ 364 w 1714"/>
                  <a:gd name="T33" fmla="*/ 186 h 1542"/>
                  <a:gd name="T34" fmla="*/ 372 w 1714"/>
                  <a:gd name="T35" fmla="*/ 218 h 1542"/>
                  <a:gd name="T36" fmla="*/ 387 w 1714"/>
                  <a:gd name="T37" fmla="*/ 246 h 1542"/>
                  <a:gd name="T38" fmla="*/ 879 w 1714"/>
                  <a:gd name="T39" fmla="*/ 1026 h 1542"/>
                  <a:gd name="T40" fmla="*/ 857 w 1714"/>
                  <a:gd name="T41" fmla="*/ 730 h 1542"/>
                  <a:gd name="T42" fmla="*/ 765 w 1714"/>
                  <a:gd name="T43" fmla="*/ 722 h 1542"/>
                  <a:gd name="T44" fmla="*/ 835 w 1714"/>
                  <a:gd name="T45" fmla="*/ 773 h 1542"/>
                  <a:gd name="T46" fmla="*/ 598 w 1714"/>
                  <a:gd name="T47" fmla="*/ 1284 h 1542"/>
                  <a:gd name="T48" fmla="*/ 1116 w 1714"/>
                  <a:gd name="T49" fmla="*/ 1284 h 1542"/>
                  <a:gd name="T50" fmla="*/ 946 w 1714"/>
                  <a:gd name="T51" fmla="*/ 1352 h 1542"/>
                  <a:gd name="T52" fmla="*/ 941 w 1714"/>
                  <a:gd name="T53" fmla="*/ 1434 h 1542"/>
                  <a:gd name="T54" fmla="*/ 822 w 1714"/>
                  <a:gd name="T55" fmla="*/ 1455 h 1542"/>
                  <a:gd name="T56" fmla="*/ 814 w 1714"/>
                  <a:gd name="T57" fmla="*/ 1396 h 1542"/>
                  <a:gd name="T58" fmla="*/ 743 w 1714"/>
                  <a:gd name="T59" fmla="*/ 1358 h 1542"/>
                  <a:gd name="T60" fmla="*/ 745 w 1714"/>
                  <a:gd name="T61" fmla="*/ 1315 h 1542"/>
                  <a:gd name="T62" fmla="*/ 728 w 1714"/>
                  <a:gd name="T63" fmla="*/ 1271 h 1542"/>
                  <a:gd name="T64" fmla="*/ 743 w 1714"/>
                  <a:gd name="T65" fmla="*/ 1243 h 1542"/>
                  <a:gd name="T66" fmla="*/ 751 w 1714"/>
                  <a:gd name="T67" fmla="*/ 1211 h 1542"/>
                  <a:gd name="T68" fmla="*/ 752 w 1714"/>
                  <a:gd name="T69" fmla="*/ 1176 h 1542"/>
                  <a:gd name="T70" fmla="*/ 730 w 1714"/>
                  <a:gd name="T71" fmla="*/ 1132 h 1542"/>
                  <a:gd name="T72" fmla="*/ 991 w 1714"/>
                  <a:gd name="T73" fmla="*/ 1192 h 1542"/>
                  <a:gd name="T74" fmla="*/ 1456 w 1714"/>
                  <a:gd name="T75" fmla="*/ 0 h 1542"/>
                  <a:gd name="T76" fmla="*/ 1221 w 1714"/>
                  <a:gd name="T77" fmla="*/ 368 h 1542"/>
                  <a:gd name="T78" fmla="*/ 965 w 1714"/>
                  <a:gd name="T79" fmla="*/ 534 h 1542"/>
                  <a:gd name="T80" fmla="*/ 984 w 1714"/>
                  <a:gd name="T81" fmla="*/ 603 h 1542"/>
                  <a:gd name="T82" fmla="*/ 1028 w 1714"/>
                  <a:gd name="T83" fmla="*/ 603 h 1542"/>
                  <a:gd name="T84" fmla="*/ 1243 w 1714"/>
                  <a:gd name="T85" fmla="*/ 406 h 1542"/>
                  <a:gd name="T86" fmla="*/ 1714 w 1714"/>
                  <a:gd name="T87" fmla="*/ 259 h 1542"/>
                  <a:gd name="T88" fmla="*/ 1514 w 1714"/>
                  <a:gd name="T89" fmla="*/ 363 h 1542"/>
                  <a:gd name="T90" fmla="*/ 1509 w 1714"/>
                  <a:gd name="T91" fmla="*/ 407 h 1542"/>
                  <a:gd name="T92" fmla="*/ 1417 w 1714"/>
                  <a:gd name="T93" fmla="*/ 427 h 1542"/>
                  <a:gd name="T94" fmla="*/ 1411 w 1714"/>
                  <a:gd name="T95" fmla="*/ 363 h 1542"/>
                  <a:gd name="T96" fmla="*/ 1346 w 1714"/>
                  <a:gd name="T97" fmla="*/ 356 h 1542"/>
                  <a:gd name="T98" fmla="*/ 1339 w 1714"/>
                  <a:gd name="T99" fmla="*/ 290 h 1542"/>
                  <a:gd name="T100" fmla="*/ 1321 w 1714"/>
                  <a:gd name="T101" fmla="*/ 246 h 1542"/>
                  <a:gd name="T102" fmla="*/ 1337 w 1714"/>
                  <a:gd name="T103" fmla="*/ 191 h 1542"/>
                  <a:gd name="T104" fmla="*/ 1343 w 1714"/>
                  <a:gd name="T105" fmla="*/ 143 h 1542"/>
                  <a:gd name="T106" fmla="*/ 1582 w 1714"/>
                  <a:gd name="T107" fmla="*/ 165 h 1542"/>
                  <a:gd name="T108" fmla="*/ 857 w 1714"/>
                  <a:gd name="T109" fmla="*/ 669 h 1542"/>
                  <a:gd name="T110" fmla="*/ 857 w 1714"/>
                  <a:gd name="T111" fmla="*/ 537 h 1542"/>
                  <a:gd name="T112" fmla="*/ 857 w 1714"/>
                  <a:gd name="T113" fmla="*/ 669 h 15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1714" h="1542">
                    <a:moveTo>
                      <a:pt x="803" y="462"/>
                    </a:moveTo>
                    <a:cubicBezTo>
                      <a:pt x="797" y="451"/>
                      <a:pt x="783" y="448"/>
                      <a:pt x="773" y="454"/>
                    </a:cubicBezTo>
                    <a:cubicBezTo>
                      <a:pt x="753" y="465"/>
                      <a:pt x="735" y="481"/>
                      <a:pt x="721" y="499"/>
                    </a:cubicBezTo>
                    <a:cubicBezTo>
                      <a:pt x="493" y="368"/>
                      <a:pt x="493" y="368"/>
                      <a:pt x="493" y="368"/>
                    </a:cubicBezTo>
                    <a:cubicBezTo>
                      <a:pt x="509" y="335"/>
                      <a:pt x="517" y="298"/>
                      <a:pt x="517" y="259"/>
                    </a:cubicBezTo>
                    <a:cubicBezTo>
                      <a:pt x="517" y="116"/>
                      <a:pt x="401" y="0"/>
                      <a:pt x="258" y="0"/>
                    </a:cubicBezTo>
                    <a:cubicBezTo>
                      <a:pt x="116" y="0"/>
                      <a:pt x="0" y="116"/>
                      <a:pt x="0" y="259"/>
                    </a:cubicBezTo>
                    <a:cubicBezTo>
                      <a:pt x="0" y="402"/>
                      <a:pt x="116" y="517"/>
                      <a:pt x="258" y="517"/>
                    </a:cubicBezTo>
                    <a:cubicBezTo>
                      <a:pt x="347" y="517"/>
                      <a:pt x="424" y="473"/>
                      <a:pt x="471" y="406"/>
                    </a:cubicBezTo>
                    <a:cubicBezTo>
                      <a:pt x="717" y="548"/>
                      <a:pt x="717" y="548"/>
                      <a:pt x="717" y="548"/>
                    </a:cubicBezTo>
                    <a:cubicBezTo>
                      <a:pt x="720" y="550"/>
                      <a:pt x="724" y="551"/>
                      <a:pt x="728" y="551"/>
                    </a:cubicBezTo>
                    <a:cubicBezTo>
                      <a:pt x="735" y="551"/>
                      <a:pt x="742" y="547"/>
                      <a:pt x="747" y="540"/>
                    </a:cubicBezTo>
                    <a:cubicBezTo>
                      <a:pt x="747" y="539"/>
                      <a:pt x="747" y="539"/>
                      <a:pt x="747" y="539"/>
                    </a:cubicBezTo>
                    <a:cubicBezTo>
                      <a:pt x="758" y="519"/>
                      <a:pt x="775" y="503"/>
                      <a:pt x="794" y="492"/>
                    </a:cubicBezTo>
                    <a:cubicBezTo>
                      <a:pt x="805" y="486"/>
                      <a:pt x="809" y="473"/>
                      <a:pt x="803" y="462"/>
                    </a:cubicBezTo>
                    <a:close/>
                    <a:moveTo>
                      <a:pt x="402" y="273"/>
                    </a:moveTo>
                    <a:cubicBezTo>
                      <a:pt x="400" y="277"/>
                      <a:pt x="394" y="289"/>
                      <a:pt x="371" y="290"/>
                    </a:cubicBezTo>
                    <a:cubicBezTo>
                      <a:pt x="372" y="301"/>
                      <a:pt x="374" y="319"/>
                      <a:pt x="373" y="331"/>
                    </a:cubicBezTo>
                    <a:cubicBezTo>
                      <a:pt x="373" y="333"/>
                      <a:pt x="373" y="333"/>
                      <a:pt x="373" y="333"/>
                    </a:cubicBezTo>
                    <a:cubicBezTo>
                      <a:pt x="371" y="352"/>
                      <a:pt x="371" y="363"/>
                      <a:pt x="363" y="367"/>
                    </a:cubicBezTo>
                    <a:cubicBezTo>
                      <a:pt x="356" y="370"/>
                      <a:pt x="332" y="374"/>
                      <a:pt x="301" y="371"/>
                    </a:cubicBezTo>
                    <a:cubicBezTo>
                      <a:pt x="301" y="423"/>
                      <a:pt x="301" y="423"/>
                      <a:pt x="301" y="423"/>
                    </a:cubicBezTo>
                    <a:cubicBezTo>
                      <a:pt x="301" y="427"/>
                      <a:pt x="298" y="430"/>
                      <a:pt x="294" y="430"/>
                    </a:cubicBezTo>
                    <a:cubicBezTo>
                      <a:pt x="294" y="430"/>
                      <a:pt x="294" y="430"/>
                      <a:pt x="294" y="430"/>
                    </a:cubicBezTo>
                    <a:cubicBezTo>
                      <a:pt x="289" y="430"/>
                      <a:pt x="224" y="430"/>
                      <a:pt x="174" y="409"/>
                    </a:cubicBezTo>
                    <a:cubicBezTo>
                      <a:pt x="171" y="408"/>
                      <a:pt x="169" y="405"/>
                      <a:pt x="169" y="402"/>
                    </a:cubicBezTo>
                    <a:cubicBezTo>
                      <a:pt x="169" y="327"/>
                      <a:pt x="169" y="327"/>
                      <a:pt x="169" y="327"/>
                    </a:cubicBezTo>
                    <a:cubicBezTo>
                      <a:pt x="144" y="300"/>
                      <a:pt x="93" y="234"/>
                      <a:pt x="125" y="167"/>
                    </a:cubicBezTo>
                    <a:cubicBezTo>
                      <a:pt x="142" y="130"/>
                      <a:pt x="178" y="87"/>
                      <a:pt x="251" y="87"/>
                    </a:cubicBezTo>
                    <a:cubicBezTo>
                      <a:pt x="333" y="87"/>
                      <a:pt x="309" y="108"/>
                      <a:pt x="385" y="107"/>
                    </a:cubicBezTo>
                    <a:cubicBezTo>
                      <a:pt x="393" y="107"/>
                      <a:pt x="369" y="134"/>
                      <a:pt x="365" y="150"/>
                    </a:cubicBezTo>
                    <a:cubicBezTo>
                      <a:pt x="364" y="151"/>
                      <a:pt x="364" y="151"/>
                      <a:pt x="364" y="151"/>
                    </a:cubicBezTo>
                    <a:cubicBezTo>
                      <a:pt x="363" y="152"/>
                      <a:pt x="361" y="150"/>
                      <a:pt x="360" y="151"/>
                    </a:cubicBezTo>
                    <a:cubicBezTo>
                      <a:pt x="361" y="161"/>
                      <a:pt x="362" y="179"/>
                      <a:pt x="364" y="186"/>
                    </a:cubicBezTo>
                    <a:cubicBezTo>
                      <a:pt x="366" y="192"/>
                      <a:pt x="368" y="199"/>
                      <a:pt x="369" y="205"/>
                    </a:cubicBezTo>
                    <a:cubicBezTo>
                      <a:pt x="370" y="210"/>
                      <a:pt x="371" y="215"/>
                      <a:pt x="372" y="218"/>
                    </a:cubicBezTo>
                    <a:cubicBezTo>
                      <a:pt x="376" y="229"/>
                      <a:pt x="381" y="239"/>
                      <a:pt x="385" y="243"/>
                    </a:cubicBezTo>
                    <a:cubicBezTo>
                      <a:pt x="386" y="244"/>
                      <a:pt x="386" y="245"/>
                      <a:pt x="387" y="246"/>
                    </a:cubicBezTo>
                    <a:cubicBezTo>
                      <a:pt x="396" y="255"/>
                      <a:pt x="405" y="264"/>
                      <a:pt x="402" y="273"/>
                    </a:cubicBezTo>
                    <a:close/>
                    <a:moveTo>
                      <a:pt x="879" y="1026"/>
                    </a:moveTo>
                    <a:cubicBezTo>
                      <a:pt x="879" y="752"/>
                      <a:pt x="879" y="752"/>
                      <a:pt x="879" y="752"/>
                    </a:cubicBezTo>
                    <a:cubicBezTo>
                      <a:pt x="879" y="740"/>
                      <a:pt x="869" y="730"/>
                      <a:pt x="857" y="730"/>
                    </a:cubicBezTo>
                    <a:cubicBezTo>
                      <a:pt x="835" y="730"/>
                      <a:pt x="813" y="725"/>
                      <a:pt x="794" y="714"/>
                    </a:cubicBezTo>
                    <a:cubicBezTo>
                      <a:pt x="784" y="708"/>
                      <a:pt x="770" y="712"/>
                      <a:pt x="765" y="722"/>
                    </a:cubicBezTo>
                    <a:cubicBezTo>
                      <a:pt x="759" y="733"/>
                      <a:pt x="762" y="746"/>
                      <a:pt x="773" y="752"/>
                    </a:cubicBezTo>
                    <a:cubicBezTo>
                      <a:pt x="792" y="763"/>
                      <a:pt x="813" y="770"/>
                      <a:pt x="835" y="773"/>
                    </a:cubicBezTo>
                    <a:cubicBezTo>
                      <a:pt x="835" y="1026"/>
                      <a:pt x="835" y="1026"/>
                      <a:pt x="835" y="1026"/>
                    </a:cubicBezTo>
                    <a:cubicBezTo>
                      <a:pt x="702" y="1037"/>
                      <a:pt x="598" y="1148"/>
                      <a:pt x="598" y="1284"/>
                    </a:cubicBezTo>
                    <a:cubicBezTo>
                      <a:pt x="598" y="1427"/>
                      <a:pt x="714" y="1542"/>
                      <a:pt x="857" y="1542"/>
                    </a:cubicBezTo>
                    <a:cubicBezTo>
                      <a:pt x="1000" y="1542"/>
                      <a:pt x="1116" y="1427"/>
                      <a:pt x="1116" y="1284"/>
                    </a:cubicBezTo>
                    <a:cubicBezTo>
                      <a:pt x="1116" y="1148"/>
                      <a:pt x="1012" y="1037"/>
                      <a:pt x="879" y="1026"/>
                    </a:cubicBezTo>
                    <a:close/>
                    <a:moveTo>
                      <a:pt x="946" y="1352"/>
                    </a:moveTo>
                    <a:cubicBezTo>
                      <a:pt x="946" y="1427"/>
                      <a:pt x="946" y="1427"/>
                      <a:pt x="946" y="1427"/>
                    </a:cubicBezTo>
                    <a:cubicBezTo>
                      <a:pt x="946" y="1430"/>
                      <a:pt x="944" y="1433"/>
                      <a:pt x="941" y="1434"/>
                    </a:cubicBezTo>
                    <a:cubicBezTo>
                      <a:pt x="891" y="1455"/>
                      <a:pt x="827" y="1455"/>
                      <a:pt x="822" y="1455"/>
                    </a:cubicBezTo>
                    <a:cubicBezTo>
                      <a:pt x="822" y="1455"/>
                      <a:pt x="822" y="1455"/>
                      <a:pt x="822" y="1455"/>
                    </a:cubicBezTo>
                    <a:cubicBezTo>
                      <a:pt x="817" y="1455"/>
                      <a:pt x="814" y="1452"/>
                      <a:pt x="814" y="1448"/>
                    </a:cubicBezTo>
                    <a:cubicBezTo>
                      <a:pt x="814" y="1396"/>
                      <a:pt x="814" y="1396"/>
                      <a:pt x="814" y="1396"/>
                    </a:cubicBezTo>
                    <a:cubicBezTo>
                      <a:pt x="783" y="1399"/>
                      <a:pt x="760" y="1395"/>
                      <a:pt x="753" y="1392"/>
                    </a:cubicBezTo>
                    <a:cubicBezTo>
                      <a:pt x="745" y="1388"/>
                      <a:pt x="744" y="1377"/>
                      <a:pt x="743" y="1358"/>
                    </a:cubicBezTo>
                    <a:cubicBezTo>
                      <a:pt x="743" y="1356"/>
                      <a:pt x="743" y="1356"/>
                      <a:pt x="743" y="1356"/>
                    </a:cubicBezTo>
                    <a:cubicBezTo>
                      <a:pt x="742" y="1344"/>
                      <a:pt x="743" y="1326"/>
                      <a:pt x="745" y="1315"/>
                    </a:cubicBezTo>
                    <a:cubicBezTo>
                      <a:pt x="721" y="1314"/>
                      <a:pt x="715" y="1302"/>
                      <a:pt x="714" y="1298"/>
                    </a:cubicBezTo>
                    <a:cubicBezTo>
                      <a:pt x="711" y="1289"/>
                      <a:pt x="719" y="1280"/>
                      <a:pt x="728" y="1271"/>
                    </a:cubicBezTo>
                    <a:cubicBezTo>
                      <a:pt x="729" y="1270"/>
                      <a:pt x="730" y="1269"/>
                      <a:pt x="731" y="1268"/>
                    </a:cubicBezTo>
                    <a:cubicBezTo>
                      <a:pt x="735" y="1264"/>
                      <a:pt x="739" y="1254"/>
                      <a:pt x="743" y="1243"/>
                    </a:cubicBezTo>
                    <a:cubicBezTo>
                      <a:pt x="744" y="1240"/>
                      <a:pt x="745" y="1235"/>
                      <a:pt x="746" y="1230"/>
                    </a:cubicBezTo>
                    <a:cubicBezTo>
                      <a:pt x="748" y="1224"/>
                      <a:pt x="749" y="1217"/>
                      <a:pt x="751" y="1211"/>
                    </a:cubicBezTo>
                    <a:cubicBezTo>
                      <a:pt x="753" y="1204"/>
                      <a:pt x="755" y="1186"/>
                      <a:pt x="756" y="1176"/>
                    </a:cubicBezTo>
                    <a:cubicBezTo>
                      <a:pt x="754" y="1175"/>
                      <a:pt x="752" y="1177"/>
                      <a:pt x="752" y="1176"/>
                    </a:cubicBezTo>
                    <a:cubicBezTo>
                      <a:pt x="751" y="1176"/>
                      <a:pt x="751" y="1176"/>
                      <a:pt x="751" y="1175"/>
                    </a:cubicBezTo>
                    <a:cubicBezTo>
                      <a:pt x="747" y="1159"/>
                      <a:pt x="722" y="1132"/>
                      <a:pt x="730" y="1132"/>
                    </a:cubicBezTo>
                    <a:cubicBezTo>
                      <a:pt x="807" y="1133"/>
                      <a:pt x="783" y="1112"/>
                      <a:pt x="865" y="1112"/>
                    </a:cubicBezTo>
                    <a:cubicBezTo>
                      <a:pt x="937" y="1112"/>
                      <a:pt x="973" y="1155"/>
                      <a:pt x="991" y="1192"/>
                    </a:cubicBezTo>
                    <a:cubicBezTo>
                      <a:pt x="1022" y="1259"/>
                      <a:pt x="971" y="1325"/>
                      <a:pt x="946" y="1352"/>
                    </a:cubicBezTo>
                    <a:close/>
                    <a:moveTo>
                      <a:pt x="1456" y="0"/>
                    </a:moveTo>
                    <a:cubicBezTo>
                      <a:pt x="1313" y="0"/>
                      <a:pt x="1197" y="116"/>
                      <a:pt x="1197" y="259"/>
                    </a:cubicBezTo>
                    <a:cubicBezTo>
                      <a:pt x="1197" y="298"/>
                      <a:pt x="1205" y="335"/>
                      <a:pt x="1221" y="368"/>
                    </a:cubicBezTo>
                    <a:cubicBezTo>
                      <a:pt x="975" y="509"/>
                      <a:pt x="975" y="509"/>
                      <a:pt x="975" y="509"/>
                    </a:cubicBezTo>
                    <a:cubicBezTo>
                      <a:pt x="967" y="514"/>
                      <a:pt x="963" y="525"/>
                      <a:pt x="965" y="534"/>
                    </a:cubicBezTo>
                    <a:cubicBezTo>
                      <a:pt x="966" y="536"/>
                      <a:pt x="967" y="538"/>
                      <a:pt x="968" y="540"/>
                    </a:cubicBezTo>
                    <a:cubicBezTo>
                      <a:pt x="979" y="559"/>
                      <a:pt x="984" y="581"/>
                      <a:pt x="984" y="603"/>
                    </a:cubicBezTo>
                    <a:cubicBezTo>
                      <a:pt x="984" y="615"/>
                      <a:pt x="994" y="625"/>
                      <a:pt x="1006" y="625"/>
                    </a:cubicBezTo>
                    <a:cubicBezTo>
                      <a:pt x="1018" y="625"/>
                      <a:pt x="1028" y="615"/>
                      <a:pt x="1028" y="603"/>
                    </a:cubicBezTo>
                    <a:cubicBezTo>
                      <a:pt x="1028" y="580"/>
                      <a:pt x="1024" y="558"/>
                      <a:pt x="1015" y="537"/>
                    </a:cubicBezTo>
                    <a:cubicBezTo>
                      <a:pt x="1243" y="406"/>
                      <a:pt x="1243" y="406"/>
                      <a:pt x="1243" y="406"/>
                    </a:cubicBezTo>
                    <a:cubicBezTo>
                      <a:pt x="1290" y="473"/>
                      <a:pt x="1367" y="517"/>
                      <a:pt x="1456" y="517"/>
                    </a:cubicBezTo>
                    <a:cubicBezTo>
                      <a:pt x="1598" y="517"/>
                      <a:pt x="1714" y="402"/>
                      <a:pt x="1714" y="259"/>
                    </a:cubicBezTo>
                    <a:cubicBezTo>
                      <a:pt x="1714" y="116"/>
                      <a:pt x="1598" y="0"/>
                      <a:pt x="1456" y="0"/>
                    </a:cubicBezTo>
                    <a:close/>
                    <a:moveTo>
                      <a:pt x="1514" y="363"/>
                    </a:moveTo>
                    <a:cubicBezTo>
                      <a:pt x="1512" y="401"/>
                      <a:pt x="1512" y="401"/>
                      <a:pt x="1512" y="401"/>
                    </a:cubicBezTo>
                    <a:cubicBezTo>
                      <a:pt x="1512" y="403"/>
                      <a:pt x="1511" y="405"/>
                      <a:pt x="1509" y="407"/>
                    </a:cubicBezTo>
                    <a:cubicBezTo>
                      <a:pt x="1478" y="425"/>
                      <a:pt x="1441" y="427"/>
                      <a:pt x="1425" y="427"/>
                    </a:cubicBezTo>
                    <a:cubicBezTo>
                      <a:pt x="1421" y="427"/>
                      <a:pt x="1418" y="427"/>
                      <a:pt x="1417" y="427"/>
                    </a:cubicBezTo>
                    <a:cubicBezTo>
                      <a:pt x="1414" y="426"/>
                      <a:pt x="1411" y="423"/>
                      <a:pt x="1411" y="419"/>
                    </a:cubicBezTo>
                    <a:cubicBezTo>
                      <a:pt x="1411" y="363"/>
                      <a:pt x="1411" y="363"/>
                      <a:pt x="1411" y="363"/>
                    </a:cubicBezTo>
                    <a:cubicBezTo>
                      <a:pt x="1403" y="363"/>
                      <a:pt x="1392" y="364"/>
                      <a:pt x="1388" y="364"/>
                    </a:cubicBezTo>
                    <a:cubicBezTo>
                      <a:pt x="1358" y="364"/>
                      <a:pt x="1350" y="360"/>
                      <a:pt x="1346" y="356"/>
                    </a:cubicBezTo>
                    <a:cubicBezTo>
                      <a:pt x="1342" y="352"/>
                      <a:pt x="1338" y="344"/>
                      <a:pt x="1339" y="313"/>
                    </a:cubicBezTo>
                    <a:cubicBezTo>
                      <a:pt x="1339" y="304"/>
                      <a:pt x="1339" y="295"/>
                      <a:pt x="1339" y="290"/>
                    </a:cubicBezTo>
                    <a:cubicBezTo>
                      <a:pt x="1320" y="289"/>
                      <a:pt x="1311" y="280"/>
                      <a:pt x="1308" y="274"/>
                    </a:cubicBezTo>
                    <a:cubicBezTo>
                      <a:pt x="1305" y="266"/>
                      <a:pt x="1314" y="253"/>
                      <a:pt x="1321" y="246"/>
                    </a:cubicBezTo>
                    <a:cubicBezTo>
                      <a:pt x="1327" y="240"/>
                      <a:pt x="1332" y="231"/>
                      <a:pt x="1335" y="224"/>
                    </a:cubicBezTo>
                    <a:cubicBezTo>
                      <a:pt x="1337" y="220"/>
                      <a:pt x="1338" y="202"/>
                      <a:pt x="1337" y="191"/>
                    </a:cubicBezTo>
                    <a:cubicBezTo>
                      <a:pt x="1335" y="170"/>
                      <a:pt x="1345" y="157"/>
                      <a:pt x="1348" y="152"/>
                    </a:cubicBezTo>
                    <a:cubicBezTo>
                      <a:pt x="1347" y="149"/>
                      <a:pt x="1345" y="146"/>
                      <a:pt x="1343" y="143"/>
                    </a:cubicBezTo>
                    <a:cubicBezTo>
                      <a:pt x="1339" y="127"/>
                      <a:pt x="1373" y="90"/>
                      <a:pt x="1453" y="90"/>
                    </a:cubicBezTo>
                    <a:cubicBezTo>
                      <a:pt x="1523" y="90"/>
                      <a:pt x="1565" y="128"/>
                      <a:pt x="1582" y="165"/>
                    </a:cubicBezTo>
                    <a:cubicBezTo>
                      <a:pt x="1641" y="286"/>
                      <a:pt x="1563" y="344"/>
                      <a:pt x="1514" y="363"/>
                    </a:cubicBezTo>
                    <a:close/>
                    <a:moveTo>
                      <a:pt x="857" y="669"/>
                    </a:moveTo>
                    <a:cubicBezTo>
                      <a:pt x="821" y="669"/>
                      <a:pt x="791" y="639"/>
                      <a:pt x="791" y="603"/>
                    </a:cubicBezTo>
                    <a:cubicBezTo>
                      <a:pt x="791" y="567"/>
                      <a:pt x="821" y="537"/>
                      <a:pt x="857" y="537"/>
                    </a:cubicBezTo>
                    <a:cubicBezTo>
                      <a:pt x="893" y="537"/>
                      <a:pt x="923" y="567"/>
                      <a:pt x="923" y="603"/>
                    </a:cubicBezTo>
                    <a:cubicBezTo>
                      <a:pt x="923" y="639"/>
                      <a:pt x="893" y="669"/>
                      <a:pt x="857" y="669"/>
                    </a:cubicBezTo>
                    <a:close/>
                  </a:path>
                </a:pathLst>
              </a:custGeom>
              <a:solidFill>
                <a:srgbClr val="00967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Bahnschrift Light SemiCondensed" panose="020B0502040204020203" pitchFamily="34" charset="0"/>
                </a:endParaRPr>
              </a:p>
            </p:txBody>
          </p:sp>
          <p:sp>
            <p:nvSpPr>
              <p:cNvPr id="21" name="Freeform 26">
                <a:extLst>
                  <a:ext uri="{FF2B5EF4-FFF2-40B4-BE49-F238E27FC236}">
                    <a16:creationId xmlns:a16="http://schemas.microsoft.com/office/drawing/2014/main" id="{115C6A6A-E13F-4093-3421-08CF5A71600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55525" y="2801969"/>
                <a:ext cx="1522662" cy="1371819"/>
              </a:xfrm>
              <a:custGeom>
                <a:avLst/>
                <a:gdLst>
                  <a:gd name="T0" fmla="*/ 857 w 1714"/>
                  <a:gd name="T1" fmla="*/ 0 h 1542"/>
                  <a:gd name="T2" fmla="*/ 835 w 1714"/>
                  <a:gd name="T3" fmla="*/ 516 h 1542"/>
                  <a:gd name="T4" fmla="*/ 857 w 1714"/>
                  <a:gd name="T5" fmla="*/ 812 h 1542"/>
                  <a:gd name="T6" fmla="*/ 923 w 1714"/>
                  <a:gd name="T7" fmla="*/ 827 h 1542"/>
                  <a:gd name="T8" fmla="*/ 933 w 1714"/>
                  <a:gd name="T9" fmla="*/ 785 h 1542"/>
                  <a:gd name="T10" fmla="*/ 879 w 1714"/>
                  <a:gd name="T11" fmla="*/ 516 h 1542"/>
                  <a:gd name="T12" fmla="*/ 773 w 1714"/>
                  <a:gd name="T13" fmla="*/ 409 h 1542"/>
                  <a:gd name="T14" fmla="*/ 768 w 1714"/>
                  <a:gd name="T15" fmla="*/ 326 h 1542"/>
                  <a:gd name="T16" fmla="*/ 849 w 1714"/>
                  <a:gd name="T17" fmla="*/ 87 h 1542"/>
                  <a:gd name="T18" fmla="*/ 963 w 1714"/>
                  <a:gd name="T19" fmla="*/ 150 h 1542"/>
                  <a:gd name="T20" fmla="*/ 958 w 1714"/>
                  <a:gd name="T21" fmla="*/ 150 h 1542"/>
                  <a:gd name="T22" fmla="*/ 968 w 1714"/>
                  <a:gd name="T23" fmla="*/ 205 h 1542"/>
                  <a:gd name="T24" fmla="*/ 983 w 1714"/>
                  <a:gd name="T25" fmla="*/ 243 h 1542"/>
                  <a:gd name="T26" fmla="*/ 1000 w 1714"/>
                  <a:gd name="T27" fmla="*/ 273 h 1542"/>
                  <a:gd name="T28" fmla="*/ 971 w 1714"/>
                  <a:gd name="T29" fmla="*/ 331 h 1542"/>
                  <a:gd name="T30" fmla="*/ 961 w 1714"/>
                  <a:gd name="T31" fmla="*/ 367 h 1542"/>
                  <a:gd name="T32" fmla="*/ 900 w 1714"/>
                  <a:gd name="T33" fmla="*/ 423 h 1542"/>
                  <a:gd name="T34" fmla="*/ 892 w 1714"/>
                  <a:gd name="T35" fmla="*/ 430 h 1542"/>
                  <a:gd name="T36" fmla="*/ 1456 w 1714"/>
                  <a:gd name="T37" fmla="*/ 1025 h 1542"/>
                  <a:gd name="T38" fmla="*/ 997 w 1714"/>
                  <a:gd name="T39" fmla="*/ 994 h 1542"/>
                  <a:gd name="T40" fmla="*/ 967 w 1714"/>
                  <a:gd name="T41" fmla="*/ 1003 h 1542"/>
                  <a:gd name="T42" fmla="*/ 918 w 1714"/>
                  <a:gd name="T43" fmla="*/ 1077 h 1542"/>
                  <a:gd name="T44" fmla="*/ 993 w 1714"/>
                  <a:gd name="T45" fmla="*/ 1043 h 1542"/>
                  <a:gd name="T46" fmla="*/ 1197 w 1714"/>
                  <a:gd name="T47" fmla="*/ 1283 h 1542"/>
                  <a:gd name="T48" fmla="*/ 1714 w 1714"/>
                  <a:gd name="T49" fmla="*/ 1283 h 1542"/>
                  <a:gd name="T50" fmla="*/ 1545 w 1714"/>
                  <a:gd name="T51" fmla="*/ 1351 h 1542"/>
                  <a:gd name="T52" fmla="*/ 1540 w 1714"/>
                  <a:gd name="T53" fmla="*/ 1434 h 1542"/>
                  <a:gd name="T54" fmla="*/ 1420 w 1714"/>
                  <a:gd name="T55" fmla="*/ 1455 h 1542"/>
                  <a:gd name="T56" fmla="*/ 1413 w 1714"/>
                  <a:gd name="T57" fmla="*/ 1395 h 1542"/>
                  <a:gd name="T58" fmla="*/ 1341 w 1714"/>
                  <a:gd name="T59" fmla="*/ 1358 h 1542"/>
                  <a:gd name="T60" fmla="*/ 1343 w 1714"/>
                  <a:gd name="T61" fmla="*/ 1315 h 1542"/>
                  <a:gd name="T62" fmla="*/ 1327 w 1714"/>
                  <a:gd name="T63" fmla="*/ 1271 h 1542"/>
                  <a:gd name="T64" fmla="*/ 1342 w 1714"/>
                  <a:gd name="T65" fmla="*/ 1243 h 1542"/>
                  <a:gd name="T66" fmla="*/ 1350 w 1714"/>
                  <a:gd name="T67" fmla="*/ 1211 h 1542"/>
                  <a:gd name="T68" fmla="*/ 1350 w 1714"/>
                  <a:gd name="T69" fmla="*/ 1176 h 1542"/>
                  <a:gd name="T70" fmla="*/ 1329 w 1714"/>
                  <a:gd name="T71" fmla="*/ 1131 h 1542"/>
                  <a:gd name="T72" fmla="*/ 1589 w 1714"/>
                  <a:gd name="T73" fmla="*/ 1192 h 1542"/>
                  <a:gd name="T74" fmla="*/ 748 w 1714"/>
                  <a:gd name="T75" fmla="*/ 1006 h 1542"/>
                  <a:gd name="T76" fmla="*/ 730 w 1714"/>
                  <a:gd name="T77" fmla="*/ 939 h 1542"/>
                  <a:gd name="T78" fmla="*/ 686 w 1714"/>
                  <a:gd name="T79" fmla="*/ 939 h 1542"/>
                  <a:gd name="T80" fmla="*/ 471 w 1714"/>
                  <a:gd name="T81" fmla="*/ 1136 h 1542"/>
                  <a:gd name="T82" fmla="*/ 0 w 1714"/>
                  <a:gd name="T83" fmla="*/ 1283 h 1542"/>
                  <a:gd name="T84" fmla="*/ 517 w 1714"/>
                  <a:gd name="T85" fmla="*/ 1283 h 1542"/>
                  <a:gd name="T86" fmla="*/ 739 w 1714"/>
                  <a:gd name="T87" fmla="*/ 1033 h 1542"/>
                  <a:gd name="T88" fmla="*/ 406 w 1714"/>
                  <a:gd name="T89" fmla="*/ 1299 h 1542"/>
                  <a:gd name="T90" fmla="*/ 375 w 1714"/>
                  <a:gd name="T91" fmla="*/ 1337 h 1542"/>
                  <a:gd name="T92" fmla="*/ 326 w 1714"/>
                  <a:gd name="T93" fmla="*/ 1388 h 1542"/>
                  <a:gd name="T94" fmla="*/ 303 w 1714"/>
                  <a:gd name="T95" fmla="*/ 1444 h 1542"/>
                  <a:gd name="T96" fmla="*/ 289 w 1714"/>
                  <a:gd name="T97" fmla="*/ 1452 h 1542"/>
                  <a:gd name="T98" fmla="*/ 202 w 1714"/>
                  <a:gd name="T99" fmla="*/ 1425 h 1542"/>
                  <a:gd name="T100" fmla="*/ 132 w 1714"/>
                  <a:gd name="T101" fmla="*/ 1189 h 1542"/>
                  <a:gd name="T102" fmla="*/ 371 w 1714"/>
                  <a:gd name="T103" fmla="*/ 1168 h 1542"/>
                  <a:gd name="T104" fmla="*/ 377 w 1714"/>
                  <a:gd name="T105" fmla="*/ 1216 h 1542"/>
                  <a:gd name="T106" fmla="*/ 393 w 1714"/>
                  <a:gd name="T107" fmla="*/ 1271 h 15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1714" h="1542">
                    <a:moveTo>
                      <a:pt x="1116" y="258"/>
                    </a:moveTo>
                    <a:cubicBezTo>
                      <a:pt x="1116" y="115"/>
                      <a:pt x="1000" y="0"/>
                      <a:pt x="857" y="0"/>
                    </a:cubicBezTo>
                    <a:cubicBezTo>
                      <a:pt x="714" y="0"/>
                      <a:pt x="598" y="115"/>
                      <a:pt x="598" y="258"/>
                    </a:cubicBezTo>
                    <a:cubicBezTo>
                      <a:pt x="598" y="394"/>
                      <a:pt x="702" y="505"/>
                      <a:pt x="835" y="516"/>
                    </a:cubicBezTo>
                    <a:cubicBezTo>
                      <a:pt x="835" y="790"/>
                      <a:pt x="835" y="790"/>
                      <a:pt x="835" y="790"/>
                    </a:cubicBezTo>
                    <a:cubicBezTo>
                      <a:pt x="835" y="802"/>
                      <a:pt x="845" y="812"/>
                      <a:pt x="857" y="812"/>
                    </a:cubicBezTo>
                    <a:cubicBezTo>
                      <a:pt x="877" y="812"/>
                      <a:pt x="896" y="816"/>
                      <a:pt x="913" y="825"/>
                    </a:cubicBezTo>
                    <a:cubicBezTo>
                      <a:pt x="916" y="826"/>
                      <a:pt x="920" y="827"/>
                      <a:pt x="923" y="827"/>
                    </a:cubicBezTo>
                    <a:cubicBezTo>
                      <a:pt x="931" y="827"/>
                      <a:pt x="939" y="823"/>
                      <a:pt x="943" y="815"/>
                    </a:cubicBezTo>
                    <a:cubicBezTo>
                      <a:pt x="948" y="804"/>
                      <a:pt x="944" y="791"/>
                      <a:pt x="933" y="785"/>
                    </a:cubicBezTo>
                    <a:cubicBezTo>
                      <a:pt x="916" y="777"/>
                      <a:pt x="898" y="771"/>
                      <a:pt x="879" y="769"/>
                    </a:cubicBezTo>
                    <a:cubicBezTo>
                      <a:pt x="879" y="516"/>
                      <a:pt x="879" y="516"/>
                      <a:pt x="879" y="516"/>
                    </a:cubicBezTo>
                    <a:cubicBezTo>
                      <a:pt x="1012" y="505"/>
                      <a:pt x="1116" y="394"/>
                      <a:pt x="1116" y="258"/>
                    </a:cubicBezTo>
                    <a:close/>
                    <a:moveTo>
                      <a:pt x="773" y="409"/>
                    </a:moveTo>
                    <a:cubicBezTo>
                      <a:pt x="770" y="408"/>
                      <a:pt x="768" y="405"/>
                      <a:pt x="768" y="402"/>
                    </a:cubicBezTo>
                    <a:cubicBezTo>
                      <a:pt x="768" y="326"/>
                      <a:pt x="768" y="326"/>
                      <a:pt x="768" y="326"/>
                    </a:cubicBezTo>
                    <a:cubicBezTo>
                      <a:pt x="743" y="300"/>
                      <a:pt x="692" y="234"/>
                      <a:pt x="723" y="167"/>
                    </a:cubicBezTo>
                    <a:cubicBezTo>
                      <a:pt x="741" y="130"/>
                      <a:pt x="777" y="87"/>
                      <a:pt x="849" y="87"/>
                    </a:cubicBezTo>
                    <a:cubicBezTo>
                      <a:pt x="931" y="87"/>
                      <a:pt x="907" y="108"/>
                      <a:pt x="984" y="106"/>
                    </a:cubicBezTo>
                    <a:cubicBezTo>
                      <a:pt x="992" y="106"/>
                      <a:pt x="967" y="133"/>
                      <a:pt x="963" y="150"/>
                    </a:cubicBezTo>
                    <a:cubicBezTo>
                      <a:pt x="963" y="151"/>
                      <a:pt x="963" y="151"/>
                      <a:pt x="962" y="151"/>
                    </a:cubicBezTo>
                    <a:cubicBezTo>
                      <a:pt x="962" y="151"/>
                      <a:pt x="960" y="150"/>
                      <a:pt x="958" y="150"/>
                    </a:cubicBezTo>
                    <a:cubicBezTo>
                      <a:pt x="959" y="160"/>
                      <a:pt x="961" y="179"/>
                      <a:pt x="963" y="186"/>
                    </a:cubicBezTo>
                    <a:cubicBezTo>
                      <a:pt x="965" y="191"/>
                      <a:pt x="966" y="198"/>
                      <a:pt x="968" y="205"/>
                    </a:cubicBezTo>
                    <a:cubicBezTo>
                      <a:pt x="969" y="210"/>
                      <a:pt x="970" y="215"/>
                      <a:pt x="971" y="218"/>
                    </a:cubicBezTo>
                    <a:cubicBezTo>
                      <a:pt x="975" y="229"/>
                      <a:pt x="979" y="238"/>
                      <a:pt x="983" y="243"/>
                    </a:cubicBezTo>
                    <a:cubicBezTo>
                      <a:pt x="984" y="244"/>
                      <a:pt x="985" y="245"/>
                      <a:pt x="986" y="246"/>
                    </a:cubicBezTo>
                    <a:cubicBezTo>
                      <a:pt x="995" y="255"/>
                      <a:pt x="1003" y="264"/>
                      <a:pt x="1000" y="273"/>
                    </a:cubicBezTo>
                    <a:cubicBezTo>
                      <a:pt x="999" y="277"/>
                      <a:pt x="993" y="289"/>
                      <a:pt x="969" y="290"/>
                    </a:cubicBezTo>
                    <a:cubicBezTo>
                      <a:pt x="971" y="300"/>
                      <a:pt x="972" y="319"/>
                      <a:pt x="971" y="331"/>
                    </a:cubicBezTo>
                    <a:cubicBezTo>
                      <a:pt x="971" y="333"/>
                      <a:pt x="971" y="333"/>
                      <a:pt x="971" y="333"/>
                    </a:cubicBezTo>
                    <a:cubicBezTo>
                      <a:pt x="970" y="352"/>
                      <a:pt x="969" y="362"/>
                      <a:pt x="961" y="367"/>
                    </a:cubicBezTo>
                    <a:cubicBezTo>
                      <a:pt x="954" y="370"/>
                      <a:pt x="931" y="373"/>
                      <a:pt x="900" y="370"/>
                    </a:cubicBezTo>
                    <a:cubicBezTo>
                      <a:pt x="900" y="423"/>
                      <a:pt x="900" y="423"/>
                      <a:pt x="900" y="423"/>
                    </a:cubicBezTo>
                    <a:cubicBezTo>
                      <a:pt x="900" y="427"/>
                      <a:pt x="897" y="430"/>
                      <a:pt x="892" y="430"/>
                    </a:cubicBezTo>
                    <a:cubicBezTo>
                      <a:pt x="892" y="430"/>
                      <a:pt x="892" y="430"/>
                      <a:pt x="892" y="430"/>
                    </a:cubicBezTo>
                    <a:cubicBezTo>
                      <a:pt x="887" y="430"/>
                      <a:pt x="823" y="430"/>
                      <a:pt x="773" y="409"/>
                    </a:cubicBezTo>
                    <a:close/>
                    <a:moveTo>
                      <a:pt x="1456" y="1025"/>
                    </a:moveTo>
                    <a:cubicBezTo>
                      <a:pt x="1367" y="1025"/>
                      <a:pt x="1290" y="1069"/>
                      <a:pt x="1243" y="1136"/>
                    </a:cubicBezTo>
                    <a:cubicBezTo>
                      <a:pt x="997" y="994"/>
                      <a:pt x="997" y="994"/>
                      <a:pt x="997" y="994"/>
                    </a:cubicBezTo>
                    <a:cubicBezTo>
                      <a:pt x="987" y="988"/>
                      <a:pt x="974" y="992"/>
                      <a:pt x="967" y="1002"/>
                    </a:cubicBezTo>
                    <a:cubicBezTo>
                      <a:pt x="967" y="1003"/>
                      <a:pt x="967" y="1003"/>
                      <a:pt x="967" y="1003"/>
                    </a:cubicBezTo>
                    <a:cubicBezTo>
                      <a:pt x="957" y="1021"/>
                      <a:pt x="942" y="1036"/>
                      <a:pt x="925" y="1047"/>
                    </a:cubicBezTo>
                    <a:cubicBezTo>
                      <a:pt x="914" y="1053"/>
                      <a:pt x="911" y="1067"/>
                      <a:pt x="918" y="1077"/>
                    </a:cubicBezTo>
                    <a:cubicBezTo>
                      <a:pt x="924" y="1088"/>
                      <a:pt x="938" y="1091"/>
                      <a:pt x="948" y="1084"/>
                    </a:cubicBezTo>
                    <a:cubicBezTo>
                      <a:pt x="965" y="1073"/>
                      <a:pt x="981" y="1059"/>
                      <a:pt x="993" y="1043"/>
                    </a:cubicBezTo>
                    <a:cubicBezTo>
                      <a:pt x="1221" y="1174"/>
                      <a:pt x="1221" y="1174"/>
                      <a:pt x="1221" y="1174"/>
                    </a:cubicBezTo>
                    <a:cubicBezTo>
                      <a:pt x="1205" y="1207"/>
                      <a:pt x="1197" y="1244"/>
                      <a:pt x="1197" y="1283"/>
                    </a:cubicBezTo>
                    <a:cubicBezTo>
                      <a:pt x="1197" y="1426"/>
                      <a:pt x="1313" y="1542"/>
                      <a:pt x="1456" y="1542"/>
                    </a:cubicBezTo>
                    <a:cubicBezTo>
                      <a:pt x="1598" y="1542"/>
                      <a:pt x="1714" y="1426"/>
                      <a:pt x="1714" y="1283"/>
                    </a:cubicBezTo>
                    <a:cubicBezTo>
                      <a:pt x="1714" y="1140"/>
                      <a:pt x="1598" y="1025"/>
                      <a:pt x="1456" y="1025"/>
                    </a:cubicBezTo>
                    <a:close/>
                    <a:moveTo>
                      <a:pt x="1545" y="1351"/>
                    </a:moveTo>
                    <a:cubicBezTo>
                      <a:pt x="1545" y="1427"/>
                      <a:pt x="1545" y="1427"/>
                      <a:pt x="1545" y="1427"/>
                    </a:cubicBezTo>
                    <a:cubicBezTo>
                      <a:pt x="1545" y="1430"/>
                      <a:pt x="1543" y="1433"/>
                      <a:pt x="1540" y="1434"/>
                    </a:cubicBezTo>
                    <a:cubicBezTo>
                      <a:pt x="1490" y="1455"/>
                      <a:pt x="1425" y="1455"/>
                      <a:pt x="1420" y="1455"/>
                    </a:cubicBezTo>
                    <a:cubicBezTo>
                      <a:pt x="1420" y="1455"/>
                      <a:pt x="1420" y="1455"/>
                      <a:pt x="1420" y="1455"/>
                    </a:cubicBezTo>
                    <a:cubicBezTo>
                      <a:pt x="1416" y="1455"/>
                      <a:pt x="1413" y="1452"/>
                      <a:pt x="1413" y="1448"/>
                    </a:cubicBezTo>
                    <a:cubicBezTo>
                      <a:pt x="1413" y="1395"/>
                      <a:pt x="1413" y="1395"/>
                      <a:pt x="1413" y="1395"/>
                    </a:cubicBezTo>
                    <a:cubicBezTo>
                      <a:pt x="1382" y="1398"/>
                      <a:pt x="1358" y="1395"/>
                      <a:pt x="1351" y="1392"/>
                    </a:cubicBezTo>
                    <a:cubicBezTo>
                      <a:pt x="1343" y="1387"/>
                      <a:pt x="1343" y="1377"/>
                      <a:pt x="1341" y="1358"/>
                    </a:cubicBezTo>
                    <a:cubicBezTo>
                      <a:pt x="1341" y="1356"/>
                      <a:pt x="1341" y="1356"/>
                      <a:pt x="1341" y="1356"/>
                    </a:cubicBezTo>
                    <a:cubicBezTo>
                      <a:pt x="1340" y="1344"/>
                      <a:pt x="1342" y="1325"/>
                      <a:pt x="1343" y="1315"/>
                    </a:cubicBezTo>
                    <a:cubicBezTo>
                      <a:pt x="1320" y="1314"/>
                      <a:pt x="1314" y="1302"/>
                      <a:pt x="1312" y="1298"/>
                    </a:cubicBezTo>
                    <a:cubicBezTo>
                      <a:pt x="1309" y="1289"/>
                      <a:pt x="1318" y="1280"/>
                      <a:pt x="1327" y="1271"/>
                    </a:cubicBezTo>
                    <a:cubicBezTo>
                      <a:pt x="1328" y="1270"/>
                      <a:pt x="1328" y="1269"/>
                      <a:pt x="1329" y="1268"/>
                    </a:cubicBezTo>
                    <a:cubicBezTo>
                      <a:pt x="1333" y="1263"/>
                      <a:pt x="1338" y="1254"/>
                      <a:pt x="1342" y="1243"/>
                    </a:cubicBezTo>
                    <a:cubicBezTo>
                      <a:pt x="1343" y="1240"/>
                      <a:pt x="1344" y="1235"/>
                      <a:pt x="1345" y="1230"/>
                    </a:cubicBezTo>
                    <a:cubicBezTo>
                      <a:pt x="1346" y="1223"/>
                      <a:pt x="1348" y="1216"/>
                      <a:pt x="1350" y="1211"/>
                    </a:cubicBezTo>
                    <a:cubicBezTo>
                      <a:pt x="1352" y="1204"/>
                      <a:pt x="1353" y="1185"/>
                      <a:pt x="1354" y="1175"/>
                    </a:cubicBezTo>
                    <a:cubicBezTo>
                      <a:pt x="1353" y="1175"/>
                      <a:pt x="1351" y="1176"/>
                      <a:pt x="1350" y="1176"/>
                    </a:cubicBezTo>
                    <a:cubicBezTo>
                      <a:pt x="1350" y="1176"/>
                      <a:pt x="1350" y="1176"/>
                      <a:pt x="1349" y="1175"/>
                    </a:cubicBezTo>
                    <a:cubicBezTo>
                      <a:pt x="1345" y="1158"/>
                      <a:pt x="1321" y="1131"/>
                      <a:pt x="1329" y="1131"/>
                    </a:cubicBezTo>
                    <a:cubicBezTo>
                      <a:pt x="1405" y="1133"/>
                      <a:pt x="1381" y="1112"/>
                      <a:pt x="1463" y="1112"/>
                    </a:cubicBezTo>
                    <a:cubicBezTo>
                      <a:pt x="1536" y="1112"/>
                      <a:pt x="1572" y="1155"/>
                      <a:pt x="1589" y="1192"/>
                    </a:cubicBezTo>
                    <a:cubicBezTo>
                      <a:pt x="1621" y="1259"/>
                      <a:pt x="1570" y="1325"/>
                      <a:pt x="1545" y="1351"/>
                    </a:cubicBezTo>
                    <a:close/>
                    <a:moveTo>
                      <a:pt x="748" y="1006"/>
                    </a:moveTo>
                    <a:cubicBezTo>
                      <a:pt x="748" y="1004"/>
                      <a:pt x="747" y="1003"/>
                      <a:pt x="746" y="1002"/>
                    </a:cubicBezTo>
                    <a:cubicBezTo>
                      <a:pt x="735" y="983"/>
                      <a:pt x="730" y="961"/>
                      <a:pt x="730" y="939"/>
                    </a:cubicBezTo>
                    <a:cubicBezTo>
                      <a:pt x="730" y="927"/>
                      <a:pt x="720" y="917"/>
                      <a:pt x="708" y="917"/>
                    </a:cubicBezTo>
                    <a:cubicBezTo>
                      <a:pt x="696" y="917"/>
                      <a:pt x="686" y="927"/>
                      <a:pt x="686" y="939"/>
                    </a:cubicBezTo>
                    <a:cubicBezTo>
                      <a:pt x="686" y="962"/>
                      <a:pt x="690" y="984"/>
                      <a:pt x="699" y="1005"/>
                    </a:cubicBezTo>
                    <a:cubicBezTo>
                      <a:pt x="471" y="1136"/>
                      <a:pt x="471" y="1136"/>
                      <a:pt x="471" y="1136"/>
                    </a:cubicBezTo>
                    <a:cubicBezTo>
                      <a:pt x="424" y="1069"/>
                      <a:pt x="347" y="1025"/>
                      <a:pt x="258" y="1025"/>
                    </a:cubicBezTo>
                    <a:cubicBezTo>
                      <a:pt x="116" y="1025"/>
                      <a:pt x="0" y="1140"/>
                      <a:pt x="0" y="1283"/>
                    </a:cubicBezTo>
                    <a:cubicBezTo>
                      <a:pt x="0" y="1426"/>
                      <a:pt x="116" y="1542"/>
                      <a:pt x="258" y="1542"/>
                    </a:cubicBezTo>
                    <a:cubicBezTo>
                      <a:pt x="401" y="1542"/>
                      <a:pt x="517" y="1426"/>
                      <a:pt x="517" y="1283"/>
                    </a:cubicBezTo>
                    <a:cubicBezTo>
                      <a:pt x="517" y="1244"/>
                      <a:pt x="509" y="1207"/>
                      <a:pt x="493" y="1174"/>
                    </a:cubicBezTo>
                    <a:cubicBezTo>
                      <a:pt x="739" y="1033"/>
                      <a:pt x="739" y="1033"/>
                      <a:pt x="739" y="1033"/>
                    </a:cubicBezTo>
                    <a:cubicBezTo>
                      <a:pt x="748" y="1027"/>
                      <a:pt x="752" y="1016"/>
                      <a:pt x="748" y="1006"/>
                    </a:cubicBezTo>
                    <a:close/>
                    <a:moveTo>
                      <a:pt x="406" y="1299"/>
                    </a:moveTo>
                    <a:cubicBezTo>
                      <a:pt x="403" y="1305"/>
                      <a:pt x="394" y="1314"/>
                      <a:pt x="375" y="1314"/>
                    </a:cubicBezTo>
                    <a:cubicBezTo>
                      <a:pt x="375" y="1320"/>
                      <a:pt x="375" y="1329"/>
                      <a:pt x="375" y="1337"/>
                    </a:cubicBezTo>
                    <a:cubicBezTo>
                      <a:pt x="376" y="1368"/>
                      <a:pt x="372" y="1377"/>
                      <a:pt x="368" y="1381"/>
                    </a:cubicBezTo>
                    <a:cubicBezTo>
                      <a:pt x="364" y="1384"/>
                      <a:pt x="356" y="1389"/>
                      <a:pt x="326" y="1388"/>
                    </a:cubicBezTo>
                    <a:cubicBezTo>
                      <a:pt x="322" y="1388"/>
                      <a:pt x="311" y="1388"/>
                      <a:pt x="303" y="1387"/>
                    </a:cubicBezTo>
                    <a:cubicBezTo>
                      <a:pt x="303" y="1444"/>
                      <a:pt x="303" y="1444"/>
                      <a:pt x="303" y="1444"/>
                    </a:cubicBezTo>
                    <a:cubicBezTo>
                      <a:pt x="303" y="1448"/>
                      <a:pt x="300" y="1451"/>
                      <a:pt x="297" y="1451"/>
                    </a:cubicBezTo>
                    <a:cubicBezTo>
                      <a:pt x="296" y="1451"/>
                      <a:pt x="293" y="1452"/>
                      <a:pt x="289" y="1452"/>
                    </a:cubicBezTo>
                    <a:cubicBezTo>
                      <a:pt x="273" y="1452"/>
                      <a:pt x="236" y="1449"/>
                      <a:pt x="205" y="1431"/>
                    </a:cubicBezTo>
                    <a:cubicBezTo>
                      <a:pt x="203" y="1430"/>
                      <a:pt x="202" y="1428"/>
                      <a:pt x="202" y="1425"/>
                    </a:cubicBezTo>
                    <a:cubicBezTo>
                      <a:pt x="200" y="1388"/>
                      <a:pt x="200" y="1388"/>
                      <a:pt x="200" y="1388"/>
                    </a:cubicBezTo>
                    <a:cubicBezTo>
                      <a:pt x="151" y="1368"/>
                      <a:pt x="73" y="1311"/>
                      <a:pt x="132" y="1189"/>
                    </a:cubicBezTo>
                    <a:cubicBezTo>
                      <a:pt x="149" y="1153"/>
                      <a:pt x="191" y="1115"/>
                      <a:pt x="261" y="1115"/>
                    </a:cubicBezTo>
                    <a:cubicBezTo>
                      <a:pt x="341" y="1115"/>
                      <a:pt x="375" y="1152"/>
                      <a:pt x="371" y="1168"/>
                    </a:cubicBezTo>
                    <a:cubicBezTo>
                      <a:pt x="369" y="1171"/>
                      <a:pt x="367" y="1174"/>
                      <a:pt x="366" y="1177"/>
                    </a:cubicBezTo>
                    <a:cubicBezTo>
                      <a:pt x="369" y="1182"/>
                      <a:pt x="379" y="1195"/>
                      <a:pt x="377" y="1216"/>
                    </a:cubicBezTo>
                    <a:cubicBezTo>
                      <a:pt x="376" y="1226"/>
                      <a:pt x="377" y="1245"/>
                      <a:pt x="379" y="1248"/>
                    </a:cubicBezTo>
                    <a:cubicBezTo>
                      <a:pt x="382" y="1255"/>
                      <a:pt x="387" y="1265"/>
                      <a:pt x="393" y="1271"/>
                    </a:cubicBezTo>
                    <a:cubicBezTo>
                      <a:pt x="400" y="1278"/>
                      <a:pt x="409" y="1291"/>
                      <a:pt x="406" y="1299"/>
                    </a:cubicBezTo>
                    <a:close/>
                  </a:path>
                </a:pathLst>
              </a:custGeom>
              <a:solidFill>
                <a:srgbClr val="00967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Bahnschrift Light SemiCondensed" panose="020B0502040204020203" pitchFamily="34" charset="0"/>
                </a:endParaRPr>
              </a:p>
            </p:txBody>
          </p:sp>
        </p:grpSp>
      </p:grpSp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DE22E367-DC7D-987B-629C-AF9773DE9785}"/>
              </a:ext>
            </a:extLst>
          </p:cNvPr>
          <p:cNvSpPr/>
          <p:nvPr/>
        </p:nvSpPr>
        <p:spPr>
          <a:xfrm>
            <a:off x="767399" y="5594261"/>
            <a:ext cx="10818881" cy="618792"/>
          </a:xfrm>
          <a:prstGeom prst="roundRect">
            <a:avLst/>
          </a:prstGeom>
          <a:solidFill>
            <a:srgbClr val="40B3AA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US" sz="2000" b="1" dirty="0" err="1">
                <a:latin typeface="Bahnschrift Light SemiCondensed"/>
              </a:rPr>
              <a:t>Fondamentale</a:t>
            </a:r>
            <a:r>
              <a:rPr lang="en-US" sz="2000" b="1" dirty="0">
                <a:latin typeface="Bahnschrift Light SemiCondensed"/>
              </a:rPr>
              <a:t> </a:t>
            </a:r>
            <a:r>
              <a:rPr lang="en-US" sz="2000" b="1" dirty="0" err="1">
                <a:latin typeface="Bahnschrift Light SemiCondensed"/>
              </a:rPr>
              <a:t>assicurare</a:t>
            </a:r>
            <a:r>
              <a:rPr lang="en-US" sz="2000" b="1" dirty="0">
                <a:latin typeface="Bahnschrift Light SemiCondensed"/>
              </a:rPr>
              <a:t> la </a:t>
            </a:r>
            <a:r>
              <a:rPr lang="en-US" sz="2000" b="1" dirty="0" err="1">
                <a:latin typeface="Bahnschrift Light SemiCondensed"/>
              </a:rPr>
              <a:t>continuità</a:t>
            </a:r>
            <a:r>
              <a:rPr lang="en-US" sz="2000" b="1" dirty="0">
                <a:latin typeface="Bahnschrift Light SemiCondensed"/>
              </a:rPr>
              <a:t> </a:t>
            </a:r>
            <a:r>
              <a:rPr lang="en-US" sz="2000" b="1" dirty="0" err="1">
                <a:latin typeface="Bahnschrift Light SemiCondensed"/>
              </a:rPr>
              <a:t>operativa</a:t>
            </a:r>
            <a:r>
              <a:rPr lang="en-US" sz="2000" b="1" dirty="0">
                <a:latin typeface="Bahnschrift Light SemiCondensed"/>
              </a:rPr>
              <a:t> </a:t>
            </a:r>
            <a:r>
              <a:rPr lang="en-US" sz="2000" b="1" dirty="0" err="1">
                <a:latin typeface="Bahnschrift Light SemiCondensed"/>
              </a:rPr>
              <a:t>dei</a:t>
            </a:r>
            <a:r>
              <a:rPr lang="en-US" sz="2000" b="1" dirty="0">
                <a:latin typeface="Bahnschrift Light SemiCondensed"/>
              </a:rPr>
              <a:t> team di progetto </a:t>
            </a:r>
            <a:r>
              <a:rPr lang="en-US" sz="2000" b="1" dirty="0" err="1">
                <a:latin typeface="Bahnschrift Light SemiCondensed"/>
              </a:rPr>
              <a:t>nella</a:t>
            </a:r>
            <a:r>
              <a:rPr lang="en-US" sz="2000" b="1" dirty="0">
                <a:latin typeface="Bahnschrift Light SemiCondensed"/>
              </a:rPr>
              <a:t> </a:t>
            </a:r>
            <a:r>
              <a:rPr lang="en-US" sz="2000" b="1" dirty="0" err="1">
                <a:latin typeface="Bahnschrift Light SemiCondensed"/>
              </a:rPr>
              <a:t>fase</a:t>
            </a:r>
            <a:r>
              <a:rPr lang="en-US" sz="2000" b="1" dirty="0">
                <a:latin typeface="Bahnschrift Light SemiCondensed"/>
              </a:rPr>
              <a:t> di “Grant Agreement Preparation"</a:t>
            </a:r>
          </a:p>
        </p:txBody>
      </p:sp>
      <p:cxnSp>
        <p:nvCxnSpPr>
          <p:cNvPr id="27" name="Connettore diritto 32">
            <a:extLst>
              <a:ext uri="{FF2B5EF4-FFF2-40B4-BE49-F238E27FC236}">
                <a16:creationId xmlns:a16="http://schemas.microsoft.com/office/drawing/2014/main" id="{65ED49CB-8A21-1CB0-E707-D0AC11D51655}"/>
              </a:ext>
            </a:extLst>
          </p:cNvPr>
          <p:cNvCxnSpPr>
            <a:cxnSpLocks/>
          </p:cNvCxnSpPr>
          <p:nvPr/>
        </p:nvCxnSpPr>
        <p:spPr>
          <a:xfrm>
            <a:off x="4327483" y="1026420"/>
            <a:ext cx="0" cy="4245621"/>
          </a:xfrm>
          <a:prstGeom prst="line">
            <a:avLst/>
          </a:prstGeom>
          <a:ln>
            <a:prstDash val="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0" name="CasellaDiTesto 2">
            <a:extLst>
              <a:ext uri="{FF2B5EF4-FFF2-40B4-BE49-F238E27FC236}">
                <a16:creationId xmlns:a16="http://schemas.microsoft.com/office/drawing/2014/main" id="{C7F70E59-4ABB-E196-12FE-0F597614581F}"/>
              </a:ext>
            </a:extLst>
          </p:cNvPr>
          <p:cNvSpPr txBox="1"/>
          <p:nvPr/>
        </p:nvSpPr>
        <p:spPr>
          <a:xfrm>
            <a:off x="1809990" y="960993"/>
            <a:ext cx="289700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b="0" i="0" u="none" strike="noStrike" baseline="0" dirty="0">
                <a:solidFill>
                  <a:srgbClr val="009670"/>
                </a:solidFill>
                <a:latin typeface="Bahnschrift Light SemiCondensed" panose="020B0502040204020203" pitchFamily="34" charset="0"/>
              </a:rPr>
              <a:t>FIRMA GRANT</a:t>
            </a:r>
            <a:endParaRPr lang="it-IT" dirty="0">
              <a:solidFill>
                <a:srgbClr val="009670"/>
              </a:solidFill>
              <a:latin typeface="Bahnschrift Light SemiCondensed" panose="020B0502040204020203" pitchFamily="34" charset="0"/>
            </a:endParaRPr>
          </a:p>
          <a:p>
            <a:r>
              <a:rPr lang="it-IT" b="1" dirty="0">
                <a:solidFill>
                  <a:schemeClr val="tx1">
                    <a:lumMod val="65000"/>
                    <a:lumOff val="35000"/>
                  </a:schemeClr>
                </a:solidFill>
                <a:latin typeface="Bahnschrift Light SemiCondensed" panose="020B0502040204020203" pitchFamily="34" charset="0"/>
              </a:rPr>
              <a:t>2</a:t>
            </a:r>
            <a:r>
              <a:rPr lang="it-IT" b="1" u="none" strike="noStrike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Bahnschrift Light SemiCondensed" panose="020B0502040204020203" pitchFamily="34" charset="0"/>
              </a:rPr>
              <a:t> mesi</a:t>
            </a:r>
            <a:endParaRPr lang="it-IT" b="1" dirty="0">
              <a:solidFill>
                <a:schemeClr val="tx1">
                  <a:lumMod val="65000"/>
                  <a:lumOff val="35000"/>
                </a:schemeClr>
              </a:solidFill>
              <a:latin typeface="Bahnschrift Light SemiCondensed" panose="020B0502040204020203" pitchFamily="34" charset="0"/>
            </a:endParaRPr>
          </a:p>
        </p:txBody>
      </p:sp>
      <p:sp>
        <p:nvSpPr>
          <p:cNvPr id="31" name="CasellaDiTesto 2">
            <a:extLst>
              <a:ext uri="{FF2B5EF4-FFF2-40B4-BE49-F238E27FC236}">
                <a16:creationId xmlns:a16="http://schemas.microsoft.com/office/drawing/2014/main" id="{58BA8FC3-F1EF-1ACF-9F5D-5172CCB735D4}"/>
              </a:ext>
            </a:extLst>
          </p:cNvPr>
          <p:cNvSpPr txBox="1"/>
          <p:nvPr/>
        </p:nvSpPr>
        <p:spPr>
          <a:xfrm>
            <a:off x="5504806" y="960993"/>
            <a:ext cx="289700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b="0" i="0" u="none" strike="noStrike" baseline="0" dirty="0">
                <a:solidFill>
                  <a:srgbClr val="009670"/>
                </a:solidFill>
                <a:latin typeface="Bahnschrift Light SemiCondensed" panose="020B0502040204020203" pitchFamily="34" charset="0"/>
              </a:rPr>
              <a:t>REPORTING</a:t>
            </a:r>
            <a:endParaRPr lang="it-IT" dirty="0">
              <a:solidFill>
                <a:srgbClr val="009670"/>
              </a:solidFill>
              <a:latin typeface="Bahnschrift Light SemiCondensed" panose="020B0502040204020203" pitchFamily="34" charset="0"/>
            </a:endParaRPr>
          </a:p>
          <a:p>
            <a:r>
              <a:rPr lang="it-IT" b="1" dirty="0">
                <a:solidFill>
                  <a:schemeClr val="tx1">
                    <a:lumMod val="65000"/>
                    <a:lumOff val="35000"/>
                  </a:schemeClr>
                </a:solidFill>
                <a:latin typeface="Bahnschrift Light SemiCondensed" panose="020B0502040204020203" pitchFamily="34" charset="0"/>
              </a:rPr>
              <a:t>Da marzo 2025</a:t>
            </a:r>
          </a:p>
        </p:txBody>
      </p:sp>
      <p:sp>
        <p:nvSpPr>
          <p:cNvPr id="37" name="Oval 36">
            <a:extLst>
              <a:ext uri="{FF2B5EF4-FFF2-40B4-BE49-F238E27FC236}">
                <a16:creationId xmlns:a16="http://schemas.microsoft.com/office/drawing/2014/main" id="{A826D283-F6B8-270E-C45D-826624663B05}"/>
              </a:ext>
            </a:extLst>
          </p:cNvPr>
          <p:cNvSpPr/>
          <p:nvPr/>
        </p:nvSpPr>
        <p:spPr>
          <a:xfrm>
            <a:off x="1051077" y="1766242"/>
            <a:ext cx="768438" cy="753014"/>
          </a:xfrm>
          <a:prstGeom prst="ellipse">
            <a:avLst/>
          </a:prstGeom>
          <a:solidFill>
            <a:srgbClr val="FFFFFF"/>
          </a:solidFill>
          <a:ln w="38100" cap="flat" cmpd="sng" algn="ctr">
            <a:gradFill flip="none" rotWithShape="1">
              <a:gsLst>
                <a:gs pos="0">
                  <a:srgbClr val="30636E"/>
                </a:gs>
                <a:gs pos="100000">
                  <a:srgbClr val="76C3EA"/>
                </a:gs>
              </a:gsLst>
              <a:lin ang="2700000" scaled="1"/>
              <a:tileRect/>
            </a:gradFill>
            <a:prstDash val="solid"/>
          </a:ln>
          <a:effectLst/>
        </p:spPr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000" b="0" i="0" u="none" strike="noStrike" kern="0" cap="none" spc="0" normalizeH="0" baseline="0" noProof="0" dirty="0">
                <a:ln>
                  <a:noFill/>
                </a:ln>
                <a:solidFill>
                  <a:srgbClr val="009670"/>
                </a:solidFill>
                <a:effectLst/>
                <a:uLnTx/>
                <a:uFillTx/>
                <a:latin typeface="Bahnschrift Light SemiCondensed"/>
                <a:ea typeface="+mn-ea"/>
                <a:cs typeface="+mn-cs"/>
              </a:rPr>
              <a:t>30</a:t>
            </a:r>
          </a:p>
        </p:txBody>
      </p:sp>
      <p:sp>
        <p:nvSpPr>
          <p:cNvPr id="38" name="CasellaDiTesto 2">
            <a:extLst>
              <a:ext uri="{FF2B5EF4-FFF2-40B4-BE49-F238E27FC236}">
                <a16:creationId xmlns:a16="http://schemas.microsoft.com/office/drawing/2014/main" id="{48480C55-AA56-4C98-90E1-82BFC4F77B26}"/>
              </a:ext>
            </a:extLst>
          </p:cNvPr>
          <p:cNvSpPr txBox="1"/>
          <p:nvPr/>
        </p:nvSpPr>
        <p:spPr>
          <a:xfrm>
            <a:off x="1849175" y="1677584"/>
            <a:ext cx="2583503" cy="2310725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it-IT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Bahnschrift Light SemiCondensed" panose="020B0502040204020203" pitchFamily="34" charset="0"/>
              </a:rPr>
              <a:t>Fine tuning della documentazione di progetto secondo le indicazioni di CINEA</a:t>
            </a:r>
            <a:endParaRPr lang="it-IT" sz="1600" b="0" i="0" u="none" strike="noStrike" baseline="0" dirty="0">
              <a:solidFill>
                <a:schemeClr val="tx1">
                  <a:lumMod val="65000"/>
                  <a:lumOff val="35000"/>
                </a:schemeClr>
              </a:solidFill>
              <a:latin typeface="Bahnschrift Light SemiCondensed" panose="020B0502040204020203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it-IT" sz="1600" b="0" i="0" u="none" strike="noStrike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Bahnschrift Light SemiCondensed" panose="020B0502040204020203" pitchFamily="34" charset="0"/>
              </a:rPr>
              <a:t>Predisposizione e firma del </a:t>
            </a:r>
            <a:r>
              <a:rPr lang="it-IT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Bahnschrift Light SemiCondensed" panose="020B0502040204020203" pitchFamily="34" charset="0"/>
              </a:rPr>
              <a:t>G</a:t>
            </a:r>
            <a:r>
              <a:rPr lang="it-IT" sz="1600" b="0" i="0" u="none" strike="noStrike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Bahnschrift Light SemiCondensed" panose="020B0502040204020203" pitchFamily="34" charset="0"/>
              </a:rPr>
              <a:t>rant </a:t>
            </a:r>
            <a:r>
              <a:rPr lang="it-IT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Bahnschrift Light SemiCondensed" panose="020B0502040204020203" pitchFamily="34" charset="0"/>
              </a:rPr>
              <a:t>A</a:t>
            </a:r>
            <a:r>
              <a:rPr lang="it-IT" sz="1600" b="0" i="0" u="none" strike="noStrike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Bahnschrift Light SemiCondensed" panose="020B0502040204020203" pitchFamily="34" charset="0"/>
              </a:rPr>
              <a:t>greemen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it-IT" sz="1600" b="0" i="0" u="none" strike="noStrike" baseline="0" dirty="0">
              <a:solidFill>
                <a:schemeClr val="tx1">
                  <a:lumMod val="65000"/>
                  <a:lumOff val="35000"/>
                </a:schemeClr>
              </a:solidFill>
              <a:latin typeface="Bahnschrift Light SemiCondensed" panose="020B0502040204020203" pitchFamily="34" charset="0"/>
            </a:endParaRPr>
          </a:p>
        </p:txBody>
      </p:sp>
      <p:sp>
        <p:nvSpPr>
          <p:cNvPr id="39" name="CasellaDiTesto 2">
            <a:extLst>
              <a:ext uri="{FF2B5EF4-FFF2-40B4-BE49-F238E27FC236}">
                <a16:creationId xmlns:a16="http://schemas.microsoft.com/office/drawing/2014/main" id="{FD8AFE11-0BCC-FD1C-5A2B-CF787DF6B64C}"/>
              </a:ext>
            </a:extLst>
          </p:cNvPr>
          <p:cNvSpPr txBox="1"/>
          <p:nvPr/>
        </p:nvSpPr>
        <p:spPr>
          <a:xfrm>
            <a:off x="4706991" y="1756243"/>
            <a:ext cx="7046384" cy="830997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it-IT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Bahnschrift Light SemiCondensed" panose="020B0502040204020203" pitchFamily="34" charset="0"/>
              </a:rPr>
              <a:t>Condivisione e aggiornamento su Portale UE della documentazione tecnica, autorizzativa, economico-finanziaria e di PMO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it-IT" sz="1600" b="0" i="0" u="none" strike="noStrike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Bahnschrift Light SemiCondensed"/>
              </a:rPr>
              <a:t>Reporting annuale fino al </a:t>
            </a:r>
            <a:r>
              <a:rPr lang="it-IT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Bahnschrift Light SemiCondensed"/>
              </a:rPr>
              <a:t>5</a:t>
            </a:r>
            <a:r>
              <a:rPr lang="it-IT" sz="1600" b="0" i="0" u="none" strike="noStrike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Bahnschrift Light SemiCondensed"/>
              </a:rPr>
              <a:t>° anno di operatività del progetto, </a:t>
            </a:r>
            <a:r>
              <a:rPr lang="it-IT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Bahnschrift Light SemiCondensed"/>
              </a:rPr>
              <a:t>2033</a:t>
            </a:r>
            <a:r>
              <a:rPr lang="it-IT" sz="1600" b="0" i="0" u="none" strike="noStrike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Bahnschrift Light SemiCondensed"/>
              </a:rPr>
              <a:t>!</a:t>
            </a:r>
          </a:p>
        </p:txBody>
      </p:sp>
      <p:sp>
        <p:nvSpPr>
          <p:cNvPr id="40" name="Oval 39">
            <a:extLst>
              <a:ext uri="{FF2B5EF4-FFF2-40B4-BE49-F238E27FC236}">
                <a16:creationId xmlns:a16="http://schemas.microsoft.com/office/drawing/2014/main" id="{2A61CF82-1B19-059A-2888-FA6C9121FD90}"/>
              </a:ext>
            </a:extLst>
          </p:cNvPr>
          <p:cNvSpPr/>
          <p:nvPr/>
        </p:nvSpPr>
        <p:spPr>
          <a:xfrm>
            <a:off x="4677586" y="3682075"/>
            <a:ext cx="768438" cy="753014"/>
          </a:xfrm>
          <a:prstGeom prst="ellipse">
            <a:avLst/>
          </a:prstGeom>
          <a:solidFill>
            <a:srgbClr val="FFFFFF"/>
          </a:solidFill>
          <a:ln w="38100" cap="flat" cmpd="sng" algn="ctr">
            <a:gradFill flip="none" rotWithShape="1">
              <a:gsLst>
                <a:gs pos="0">
                  <a:srgbClr val="30636E"/>
                </a:gs>
                <a:gs pos="100000">
                  <a:srgbClr val="76C3EA"/>
                </a:gs>
              </a:gsLst>
              <a:lin ang="2700000" scaled="1"/>
              <a:tileRect/>
            </a:gradFill>
            <a:prstDash val="solid"/>
          </a:ln>
          <a:effectLst/>
        </p:spPr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3000" kern="0" dirty="0">
                <a:solidFill>
                  <a:srgbClr val="009670"/>
                </a:solidFill>
                <a:latin typeface="Bahnschrift Light SemiCondensed"/>
              </a:rPr>
              <a:t>25</a:t>
            </a:r>
            <a:endParaRPr kumimoji="0" lang="en-US" sz="3000" b="0" i="0" u="none" strike="noStrike" kern="0" cap="none" spc="0" normalizeH="0" baseline="0" noProof="0" dirty="0">
              <a:ln>
                <a:noFill/>
              </a:ln>
              <a:solidFill>
                <a:srgbClr val="009670"/>
              </a:solidFill>
              <a:effectLst/>
              <a:uLnTx/>
              <a:uFillTx/>
              <a:latin typeface="Bahnschrift Light SemiCondensed"/>
              <a:ea typeface="+mn-ea"/>
              <a:cs typeface="+mn-cs"/>
            </a:endParaRPr>
          </a:p>
        </p:txBody>
      </p:sp>
      <p:sp>
        <p:nvSpPr>
          <p:cNvPr id="26" name="Oval 25">
            <a:extLst>
              <a:ext uri="{FF2B5EF4-FFF2-40B4-BE49-F238E27FC236}">
                <a16:creationId xmlns:a16="http://schemas.microsoft.com/office/drawing/2014/main" id="{17628733-A871-828C-955D-0DFE49BEAC12}"/>
              </a:ext>
            </a:extLst>
          </p:cNvPr>
          <p:cNvSpPr/>
          <p:nvPr/>
        </p:nvSpPr>
        <p:spPr>
          <a:xfrm>
            <a:off x="1051076" y="3173560"/>
            <a:ext cx="768438" cy="753014"/>
          </a:xfrm>
          <a:prstGeom prst="ellipse">
            <a:avLst/>
          </a:prstGeom>
          <a:solidFill>
            <a:srgbClr val="FFFFFF"/>
          </a:solidFill>
          <a:ln w="38100" cap="flat" cmpd="sng" algn="ctr">
            <a:gradFill flip="none" rotWithShape="1">
              <a:gsLst>
                <a:gs pos="0">
                  <a:srgbClr val="30636E"/>
                </a:gs>
                <a:gs pos="100000">
                  <a:srgbClr val="76C3EA"/>
                </a:gs>
              </a:gsLst>
              <a:lin ang="2700000" scaled="1"/>
              <a:tileRect/>
            </a:gradFill>
            <a:prstDash val="solid"/>
          </a:ln>
          <a:effectLst/>
        </p:spPr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3000" kern="0" dirty="0">
                <a:solidFill>
                  <a:srgbClr val="009670"/>
                </a:solidFill>
                <a:latin typeface="Bahnschrift Light SemiCondensed"/>
              </a:rPr>
              <a:t>20</a:t>
            </a:r>
            <a:endParaRPr kumimoji="0" lang="en-US" sz="3000" b="0" i="0" u="none" strike="noStrike" kern="0" cap="none" spc="0" normalizeH="0" baseline="0" noProof="0" dirty="0">
              <a:ln>
                <a:noFill/>
              </a:ln>
              <a:solidFill>
                <a:srgbClr val="009670"/>
              </a:solidFill>
              <a:effectLst/>
              <a:uLnTx/>
              <a:uFillTx/>
              <a:latin typeface="Bahnschrift Light SemiCondensed"/>
              <a:ea typeface="+mn-ea"/>
              <a:cs typeface="+mn-cs"/>
            </a:endParaRPr>
          </a:p>
        </p:txBody>
      </p:sp>
      <p:sp>
        <p:nvSpPr>
          <p:cNvPr id="28" name="CasellaDiTesto 2">
            <a:extLst>
              <a:ext uri="{FF2B5EF4-FFF2-40B4-BE49-F238E27FC236}">
                <a16:creationId xmlns:a16="http://schemas.microsoft.com/office/drawing/2014/main" id="{B2F0C43D-E3B3-DE14-5D9C-B14575C8208D}"/>
              </a:ext>
            </a:extLst>
          </p:cNvPr>
          <p:cNvSpPr txBox="1"/>
          <p:nvPr/>
        </p:nvSpPr>
        <p:spPr>
          <a:xfrm>
            <a:off x="7164791" y="4114309"/>
            <a:ext cx="3191253" cy="307777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it-IT" sz="1400" dirty="0">
                <a:solidFill>
                  <a:srgbClr val="FF0000"/>
                </a:solidFill>
                <a:latin typeface="Bahnschrift Light SemiCondensed"/>
              </a:rPr>
              <a:t>Mettere numero di documenti per tipologia</a:t>
            </a:r>
            <a:endParaRPr lang="en-US" dirty="0"/>
          </a:p>
        </p:txBody>
      </p:sp>
      <p:sp>
        <p:nvSpPr>
          <p:cNvPr id="3" name="CasellaDiTesto 2">
            <a:extLst>
              <a:ext uri="{FF2B5EF4-FFF2-40B4-BE49-F238E27FC236}">
                <a16:creationId xmlns:a16="http://schemas.microsoft.com/office/drawing/2014/main" id="{880DAF39-1413-7061-168B-CF8083AEB2E3}"/>
              </a:ext>
            </a:extLst>
          </p:cNvPr>
          <p:cNvSpPr txBox="1"/>
          <p:nvPr/>
        </p:nvSpPr>
        <p:spPr>
          <a:xfrm>
            <a:off x="876656" y="2520275"/>
            <a:ext cx="1117277" cy="584775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/>
            <a:r>
              <a:rPr lang="it-IT" sz="1600" dirty="0">
                <a:solidFill>
                  <a:srgbClr val="009670"/>
                </a:solidFill>
                <a:latin typeface="Bahnschrift Light SemiCondensed" panose="020B0502040204020203" pitchFamily="34" charset="0"/>
              </a:rPr>
              <a:t>Meeting con CINEA</a:t>
            </a:r>
            <a:endParaRPr lang="it-IT" sz="1600" i="0" u="none" strike="noStrike" baseline="0" dirty="0">
              <a:solidFill>
                <a:srgbClr val="009670"/>
              </a:solidFill>
              <a:latin typeface="Bahnschrift Light SemiCondensed"/>
            </a:endParaRPr>
          </a:p>
        </p:txBody>
      </p:sp>
      <p:sp>
        <p:nvSpPr>
          <p:cNvPr id="4" name="CasellaDiTesto 2">
            <a:extLst>
              <a:ext uri="{FF2B5EF4-FFF2-40B4-BE49-F238E27FC236}">
                <a16:creationId xmlns:a16="http://schemas.microsoft.com/office/drawing/2014/main" id="{8EA4FCA8-9838-5393-96DE-2155E7E5EC2A}"/>
              </a:ext>
            </a:extLst>
          </p:cNvPr>
          <p:cNvSpPr txBox="1"/>
          <p:nvPr/>
        </p:nvSpPr>
        <p:spPr>
          <a:xfrm>
            <a:off x="776465" y="3954902"/>
            <a:ext cx="1317657" cy="584775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/>
            <a:r>
              <a:rPr lang="it-IT" sz="1600" dirty="0">
                <a:solidFill>
                  <a:srgbClr val="009670"/>
                </a:solidFill>
                <a:latin typeface="Bahnschrift Light SemiCondensed" panose="020B0502040204020203" pitchFamily="34" charset="0"/>
              </a:rPr>
              <a:t>Revisioni documentali</a:t>
            </a:r>
            <a:endParaRPr lang="it-IT" sz="1600" i="0" u="none" strike="noStrike" baseline="0" dirty="0">
              <a:solidFill>
                <a:srgbClr val="009670"/>
              </a:solidFill>
              <a:latin typeface="Bahnschrift Light SemiCondensed"/>
            </a:endParaRPr>
          </a:p>
        </p:txBody>
      </p:sp>
      <p:sp>
        <p:nvSpPr>
          <p:cNvPr id="8" name="CasellaDiTesto 2">
            <a:extLst>
              <a:ext uri="{FF2B5EF4-FFF2-40B4-BE49-F238E27FC236}">
                <a16:creationId xmlns:a16="http://schemas.microsoft.com/office/drawing/2014/main" id="{1B0D80E2-FA43-C6F0-7B53-59EDB59EA2BC}"/>
              </a:ext>
            </a:extLst>
          </p:cNvPr>
          <p:cNvSpPr txBox="1"/>
          <p:nvPr/>
        </p:nvSpPr>
        <p:spPr>
          <a:xfrm>
            <a:off x="4381353" y="4500036"/>
            <a:ext cx="1390796" cy="830997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/>
            <a:r>
              <a:rPr lang="it-IT" sz="1600" dirty="0">
                <a:solidFill>
                  <a:srgbClr val="009670"/>
                </a:solidFill>
                <a:latin typeface="Bahnschrift Light SemiCondensed" panose="020B0502040204020203" pitchFamily="34" charset="0"/>
              </a:rPr>
              <a:t>Documenti entro la Financial Close</a:t>
            </a:r>
            <a:endParaRPr lang="it-IT" sz="1600" i="0" u="none" strike="noStrike" baseline="0" dirty="0">
              <a:solidFill>
                <a:srgbClr val="009670"/>
              </a:solidFill>
              <a:latin typeface="Bahnschrift Light SemiCondensed"/>
            </a:endParaRPr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32642FDC-FA18-9A9C-7E1E-B9A95C0E661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24208" y="2710673"/>
            <a:ext cx="5291136" cy="27322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92756246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3F5CF4D-512C-741F-13DA-EFADADDE9B8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asellaDiTesto 14">
            <a:extLst>
              <a:ext uri="{FF2B5EF4-FFF2-40B4-BE49-F238E27FC236}">
                <a16:creationId xmlns:a16="http://schemas.microsoft.com/office/drawing/2014/main" id="{4A64EC9D-E616-6461-393D-859771C00C69}"/>
              </a:ext>
            </a:extLst>
          </p:cNvPr>
          <p:cNvSpPr txBox="1"/>
          <p:nvPr/>
        </p:nvSpPr>
        <p:spPr>
          <a:xfrm>
            <a:off x="875472" y="1126381"/>
            <a:ext cx="10004195" cy="193899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it-IT" sz="6000" dirty="0">
                <a:solidFill>
                  <a:srgbClr val="32837D"/>
                </a:solidFill>
                <a:latin typeface="Bahnschrift Light SemiCondensed" panose="020B0502040204020203" pitchFamily="34" charset="0"/>
                <a:sym typeface="Wingdings" panose="05000000000000000000" pitchFamily="2" charset="2"/>
              </a:rPr>
              <a:t>4.</a:t>
            </a:r>
          </a:p>
          <a:p>
            <a:r>
              <a:rPr lang="it-IT" sz="6000" dirty="0" err="1">
                <a:solidFill>
                  <a:srgbClr val="32837D"/>
                </a:solidFill>
                <a:latin typeface="Bahnschrift Light SemiCondensed" panose="020B0502040204020203" pitchFamily="34" charset="0"/>
                <a:sym typeface="Wingdings" panose="05000000000000000000" pitchFamily="2" charset="2"/>
              </a:rPr>
              <a:t>Lessons</a:t>
            </a:r>
            <a:r>
              <a:rPr lang="it-IT" sz="6000" dirty="0">
                <a:solidFill>
                  <a:srgbClr val="32837D"/>
                </a:solidFill>
                <a:latin typeface="Bahnschrift Light SemiCondensed" panose="020B0502040204020203" pitchFamily="34" charset="0"/>
                <a:sym typeface="Wingdings" panose="05000000000000000000" pitchFamily="2" charset="2"/>
              </a:rPr>
              <a:t> </a:t>
            </a:r>
            <a:r>
              <a:rPr lang="it-IT" sz="6000" dirty="0" err="1">
                <a:solidFill>
                  <a:srgbClr val="32837D"/>
                </a:solidFill>
                <a:latin typeface="Bahnschrift Light SemiCondensed" panose="020B0502040204020203" pitchFamily="34" charset="0"/>
                <a:sym typeface="Wingdings" panose="05000000000000000000" pitchFamily="2" charset="2"/>
              </a:rPr>
              <a:t>learnt</a:t>
            </a:r>
            <a:endParaRPr lang="it-IT" sz="6000" dirty="0">
              <a:solidFill>
                <a:srgbClr val="32837D"/>
              </a:solidFill>
              <a:latin typeface="Bahnschrift Light SemiCondensed" panose="020B0502040204020203" pitchFamily="34" charset="0"/>
              <a:sym typeface="Wingdings" panose="05000000000000000000" pitchFamily="2" charset="2"/>
            </a:endParaRPr>
          </a:p>
        </p:txBody>
      </p:sp>
    </p:spTree>
    <p:extLst>
      <p:ext uri="{BB962C8B-B14F-4D97-AF65-F5344CB8AC3E}">
        <p14:creationId xmlns:p14="http://schemas.microsoft.com/office/powerpoint/2010/main" val="3125521455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8E470D0-C6DD-3434-7856-F2DA542A58F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" name="Title 1">
            <a:extLst>
              <a:ext uri="{FF2B5EF4-FFF2-40B4-BE49-F238E27FC236}">
                <a16:creationId xmlns:a16="http://schemas.microsoft.com/office/drawing/2014/main" id="{7769CB39-F6C4-EE4F-2EE6-EF1DE81FB62E}"/>
              </a:ext>
            </a:extLst>
          </p:cNvPr>
          <p:cNvSpPr txBox="1">
            <a:spLocks/>
          </p:cNvSpPr>
          <p:nvPr/>
        </p:nvSpPr>
        <p:spPr>
          <a:xfrm>
            <a:off x="256464" y="84981"/>
            <a:ext cx="11421186" cy="954107"/>
          </a:xfrm>
          <a:prstGeom prst="rect">
            <a:avLst/>
          </a:prstGeom>
          <a:noFill/>
          <a:ln>
            <a:noFill/>
          </a:ln>
        </p:spPr>
        <p:txBody>
          <a:bodyPr vert="horz" lIns="0" tIns="0" rIns="0" bIns="0" rtlCol="0" anchor="ctr" anchorCtr="0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it-IT" sz="2400" b="1" kern="1200">
                <a:solidFill>
                  <a:srgbClr val="054977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r>
              <a:rPr lang="it-IT" sz="3200" b="0" dirty="0">
                <a:solidFill>
                  <a:srgbClr val="30636E"/>
                </a:solidFill>
                <a:latin typeface="Bahnschrift Light SemiCondensed" panose="020B0502040204020203" pitchFamily="34" charset="0"/>
                <a:ea typeface="+mn-ea"/>
                <a:cs typeface="+mn-cs"/>
              </a:rPr>
              <a:t>Lesson </a:t>
            </a:r>
            <a:r>
              <a:rPr lang="it-IT" sz="3200" b="0" dirty="0" err="1">
                <a:solidFill>
                  <a:srgbClr val="30636E"/>
                </a:solidFill>
                <a:latin typeface="Bahnschrift Light SemiCondensed" panose="020B0502040204020203" pitchFamily="34" charset="0"/>
                <a:ea typeface="+mn-ea"/>
                <a:cs typeface="+mn-cs"/>
              </a:rPr>
              <a:t>learnt</a:t>
            </a:r>
            <a:r>
              <a:rPr lang="it-IT" sz="3200" b="0" dirty="0">
                <a:solidFill>
                  <a:srgbClr val="30636E"/>
                </a:solidFill>
                <a:latin typeface="Bahnschrift Light SemiCondensed" panose="020B0502040204020203" pitchFamily="34" charset="0"/>
                <a:ea typeface="+mn-ea"/>
                <a:cs typeface="+mn-cs"/>
              </a:rPr>
              <a:t>: driver tecnici</a:t>
            </a:r>
          </a:p>
        </p:txBody>
      </p:sp>
      <p:sp>
        <p:nvSpPr>
          <p:cNvPr id="2" name="Rectangle 57">
            <a:extLst>
              <a:ext uri="{FF2B5EF4-FFF2-40B4-BE49-F238E27FC236}">
                <a16:creationId xmlns:a16="http://schemas.microsoft.com/office/drawing/2014/main" id="{BD84EE1E-399F-CA05-DF45-4B8B3011908B}"/>
              </a:ext>
            </a:extLst>
          </p:cNvPr>
          <p:cNvSpPr/>
          <p:nvPr/>
        </p:nvSpPr>
        <p:spPr>
          <a:xfrm>
            <a:off x="268078" y="972471"/>
            <a:ext cx="5631202" cy="36933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  <a:defRPr b="0" i="0"/>
            </a:pPr>
            <a:r>
              <a:rPr lang="it-IT" sz="2400" b="1" dirty="0">
                <a:solidFill>
                  <a:srgbClr val="30636E"/>
                </a:solidFill>
                <a:latin typeface="Bahnschrift Light SemiCondensed" panose="020B0502040204020203" pitchFamily="34" charset="0"/>
                <a:cs typeface="Henderson BCG Sans Light"/>
                <a:sym typeface="+mn-lt"/>
              </a:rPr>
              <a:t>Sfide progettuali</a:t>
            </a:r>
          </a:p>
        </p:txBody>
      </p:sp>
      <p:sp>
        <p:nvSpPr>
          <p:cNvPr id="72" name="Rectangle 57">
            <a:extLst>
              <a:ext uri="{FF2B5EF4-FFF2-40B4-BE49-F238E27FC236}">
                <a16:creationId xmlns:a16="http://schemas.microsoft.com/office/drawing/2014/main" id="{53D50939-A979-4AD9-4757-E664C2D21CD1}"/>
              </a:ext>
            </a:extLst>
          </p:cNvPr>
          <p:cNvSpPr/>
          <p:nvPr/>
        </p:nvSpPr>
        <p:spPr>
          <a:xfrm>
            <a:off x="6224685" y="967040"/>
            <a:ext cx="5631202" cy="36933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  <a:defRPr b="0" i="0"/>
            </a:pPr>
            <a:r>
              <a:rPr lang="it-IT" sz="2400" b="1">
                <a:solidFill>
                  <a:srgbClr val="30636E"/>
                </a:solidFill>
                <a:latin typeface="Bahnschrift Light SemiCondensed" panose="020B0502040204020203" pitchFamily="34" charset="0"/>
                <a:cs typeface="Henderson BCG Sans Light"/>
                <a:sym typeface="+mn-lt"/>
              </a:rPr>
              <a:t>Lesson </a:t>
            </a:r>
            <a:r>
              <a:rPr lang="it-IT" sz="2400" b="1" err="1">
                <a:solidFill>
                  <a:srgbClr val="30636E"/>
                </a:solidFill>
                <a:latin typeface="Bahnschrift Light SemiCondensed" panose="020B0502040204020203" pitchFamily="34" charset="0"/>
                <a:cs typeface="Henderson BCG Sans Light"/>
                <a:sym typeface="+mn-lt"/>
              </a:rPr>
              <a:t>learnt</a:t>
            </a:r>
            <a:r>
              <a:rPr lang="it-IT" sz="2400" b="1">
                <a:solidFill>
                  <a:srgbClr val="30636E"/>
                </a:solidFill>
                <a:latin typeface="Bahnschrift Light SemiCondensed" panose="020B0502040204020203" pitchFamily="34" charset="0"/>
                <a:cs typeface="Henderson BCG Sans Light"/>
                <a:sym typeface="+mn-lt"/>
              </a:rPr>
              <a:t> </a:t>
            </a:r>
          </a:p>
        </p:txBody>
      </p:sp>
      <p:sp>
        <p:nvSpPr>
          <p:cNvPr id="16" name="Rectangle 57">
            <a:extLst>
              <a:ext uri="{FF2B5EF4-FFF2-40B4-BE49-F238E27FC236}">
                <a16:creationId xmlns:a16="http://schemas.microsoft.com/office/drawing/2014/main" id="{F413F084-09CF-7F71-EE1B-2C3CCAC1CA03}"/>
              </a:ext>
            </a:extLst>
          </p:cNvPr>
          <p:cNvSpPr/>
          <p:nvPr/>
        </p:nvSpPr>
        <p:spPr>
          <a:xfrm>
            <a:off x="420967" y="2811228"/>
            <a:ext cx="5400000" cy="1008000"/>
          </a:xfrm>
          <a:prstGeom prst="rect">
            <a:avLst/>
          </a:prstGeom>
          <a:ln>
            <a:solidFill>
              <a:srgbClr val="40B3AA"/>
            </a:solidFill>
          </a:ln>
        </p:spPr>
        <p:txBody>
          <a:bodyPr wrap="square" lIns="0" tIns="0" rIns="0" bIns="0" anchor="ctr">
            <a:noAutofit/>
          </a:bodyPr>
          <a:lstStyle/>
          <a:p>
            <a:pPr marL="72000" algn="ctr" defTabSz="1080000">
              <a:spcBef>
                <a:spcPts val="400"/>
              </a:spcBef>
              <a:spcAft>
                <a:spcPts val="400"/>
              </a:spcAft>
              <a:defRPr b="0" i="0"/>
            </a:pPr>
            <a:r>
              <a:rPr lang="it-IT" sz="2000" dirty="0">
                <a:solidFill>
                  <a:srgbClr val="30636E"/>
                </a:solidFill>
                <a:latin typeface="Bahnschrift Light SemiCondensed" panose="020B0502040204020203" pitchFamily="34" charset="0"/>
                <a:cs typeface="Henderson BCG Sans Light"/>
                <a:sym typeface="+mn-lt"/>
              </a:rPr>
              <a:t>Incrementare la maturità tecnica di progetto oltre i risultati degli studi di fattibilità</a:t>
            </a:r>
          </a:p>
        </p:txBody>
      </p:sp>
      <p:sp>
        <p:nvSpPr>
          <p:cNvPr id="17" name="Rectangle 57">
            <a:extLst>
              <a:ext uri="{FF2B5EF4-FFF2-40B4-BE49-F238E27FC236}">
                <a16:creationId xmlns:a16="http://schemas.microsoft.com/office/drawing/2014/main" id="{04C0CDB1-5916-C494-A29B-C98F10A97D2A}"/>
              </a:ext>
            </a:extLst>
          </p:cNvPr>
          <p:cNvSpPr/>
          <p:nvPr/>
        </p:nvSpPr>
        <p:spPr>
          <a:xfrm>
            <a:off x="6450258" y="2811228"/>
            <a:ext cx="5400000" cy="1008000"/>
          </a:xfrm>
          <a:prstGeom prst="rect">
            <a:avLst/>
          </a:prstGeom>
          <a:ln>
            <a:solidFill>
              <a:srgbClr val="40B3AA"/>
            </a:solidFill>
          </a:ln>
        </p:spPr>
        <p:txBody>
          <a:bodyPr wrap="square" lIns="0" tIns="0" rIns="0" bIns="0" anchor="ctr">
            <a:noAutofit/>
          </a:bodyPr>
          <a:lstStyle/>
          <a:p>
            <a:pPr marL="72000" algn="ctr" defTabSz="1080000">
              <a:spcBef>
                <a:spcPts val="400"/>
              </a:spcBef>
              <a:spcAft>
                <a:spcPts val="400"/>
              </a:spcAft>
              <a:defRPr b="0" i="0"/>
            </a:pPr>
            <a:r>
              <a:rPr lang="it-IT" sz="2000" dirty="0">
                <a:solidFill>
                  <a:srgbClr val="30636E"/>
                </a:solidFill>
                <a:latin typeface="Bahnschrift Light SemiCondensed" panose="020B0502040204020203" pitchFamily="34" charset="0"/>
                <a:cs typeface="Henderson BCG Sans Light"/>
                <a:sym typeface="+mn-lt"/>
              </a:rPr>
              <a:t>Avanzare la maturità di progetto sviluppando la </a:t>
            </a:r>
            <a:r>
              <a:rPr lang="it-IT" sz="2000" b="1" dirty="0">
                <a:solidFill>
                  <a:srgbClr val="40B3AA"/>
                </a:solidFill>
                <a:latin typeface="Bahnschrift Light SemiCondensed" panose="020B0502040204020203" pitchFamily="34" charset="0"/>
                <a:cs typeface="Henderson BCG Sans Light"/>
                <a:sym typeface="+mn-lt"/>
              </a:rPr>
              <a:t>Progettazione di Base</a:t>
            </a:r>
            <a:r>
              <a:rPr lang="it-IT" sz="2000" dirty="0">
                <a:solidFill>
                  <a:srgbClr val="30636E"/>
                </a:solidFill>
                <a:latin typeface="Bahnschrift Light SemiCondensed" panose="020B0502040204020203" pitchFamily="34" charset="0"/>
                <a:cs typeface="Henderson BCG Sans Light"/>
                <a:sym typeface="+mn-lt"/>
              </a:rPr>
              <a:t> durante la candidatura</a:t>
            </a:r>
          </a:p>
        </p:txBody>
      </p:sp>
      <p:sp>
        <p:nvSpPr>
          <p:cNvPr id="28" name="Rectangle: Rounded Corners 27">
            <a:extLst>
              <a:ext uri="{FF2B5EF4-FFF2-40B4-BE49-F238E27FC236}">
                <a16:creationId xmlns:a16="http://schemas.microsoft.com/office/drawing/2014/main" id="{9832F22D-88A5-FBD8-E4F7-E3E1AF00FB57}"/>
              </a:ext>
            </a:extLst>
          </p:cNvPr>
          <p:cNvSpPr/>
          <p:nvPr/>
        </p:nvSpPr>
        <p:spPr>
          <a:xfrm>
            <a:off x="420966" y="5350002"/>
            <a:ext cx="11429291" cy="769527"/>
          </a:xfrm>
          <a:prstGeom prst="roundRect">
            <a:avLst/>
          </a:prstGeom>
          <a:solidFill>
            <a:srgbClr val="40B3AA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US" sz="2000" b="1" dirty="0" err="1">
                <a:latin typeface="Bahnschrift Light SemiCondensed"/>
              </a:rPr>
              <a:t>Individuazione</a:t>
            </a:r>
            <a:r>
              <a:rPr lang="en-US" sz="2000" b="1" dirty="0">
                <a:latin typeface="Bahnschrift Light SemiCondensed"/>
              </a:rPr>
              <a:t> di un partner </a:t>
            </a:r>
            <a:r>
              <a:rPr lang="en-US" sz="2000" b="1" dirty="0" err="1">
                <a:latin typeface="Bahnschrift Light SemiCondensed"/>
              </a:rPr>
              <a:t>tecnologico</a:t>
            </a:r>
            <a:r>
              <a:rPr lang="en-US" sz="2000" b="1" dirty="0">
                <a:latin typeface="Bahnschrift Light SemiCondensed"/>
              </a:rPr>
              <a:t> di </a:t>
            </a:r>
            <a:r>
              <a:rPr lang="en-US" sz="2000" b="1" dirty="0" err="1">
                <a:latin typeface="Bahnschrift Light SemiCondensed"/>
              </a:rPr>
              <a:t>riferimento</a:t>
            </a:r>
            <a:r>
              <a:rPr lang="en-US" sz="2000" b="1" dirty="0">
                <a:latin typeface="Bahnschrift Light SemiCondensed"/>
              </a:rPr>
              <a:t> per lo </a:t>
            </a:r>
            <a:r>
              <a:rPr lang="en-US" sz="2000" b="1" dirty="0" err="1">
                <a:latin typeface="Bahnschrift Light SemiCondensed"/>
              </a:rPr>
              <a:t>sviluppo</a:t>
            </a:r>
            <a:r>
              <a:rPr lang="en-US" sz="2000" b="1" dirty="0">
                <a:latin typeface="Bahnschrift Light SemiCondensed"/>
              </a:rPr>
              <a:t> di </a:t>
            </a:r>
            <a:r>
              <a:rPr lang="en-US" sz="2000" b="1" dirty="0" err="1">
                <a:latin typeface="Bahnschrift Light SemiCondensed"/>
              </a:rPr>
              <a:t>analisi</a:t>
            </a:r>
            <a:r>
              <a:rPr lang="en-US" sz="2000" b="1" dirty="0">
                <a:latin typeface="Bahnschrift Light SemiCondensed"/>
              </a:rPr>
              <a:t> </a:t>
            </a:r>
            <a:r>
              <a:rPr lang="en-US" sz="2000" b="1" dirty="0" err="1">
                <a:latin typeface="Bahnschrift Light SemiCondensed"/>
              </a:rPr>
              <a:t>tecnico-economiche</a:t>
            </a:r>
            <a:r>
              <a:rPr lang="en-US" sz="2000" b="1" dirty="0">
                <a:latin typeface="Bahnschrift Light SemiCondensed"/>
              </a:rPr>
              <a:t> e della </a:t>
            </a:r>
            <a:r>
              <a:rPr lang="en-US" sz="2000" b="1" dirty="0" err="1">
                <a:latin typeface="Bahnschrift Light SemiCondensed"/>
              </a:rPr>
              <a:t>progettazione</a:t>
            </a:r>
            <a:r>
              <a:rPr lang="en-US" sz="2000" b="1" dirty="0">
                <a:latin typeface="Bahnschrift Light SemiCondensed"/>
              </a:rPr>
              <a:t> di base</a:t>
            </a:r>
          </a:p>
        </p:txBody>
      </p:sp>
      <p:pic>
        <p:nvPicPr>
          <p:cNvPr id="31" name="Graphic 30" descr="Single gear outline">
            <a:extLst>
              <a:ext uri="{FF2B5EF4-FFF2-40B4-BE49-F238E27FC236}">
                <a16:creationId xmlns:a16="http://schemas.microsoft.com/office/drawing/2014/main" id="{667B1A11-2DC1-8B90-5D27-C3FCCEE242C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774864" y="82503"/>
            <a:ext cx="914400" cy="914400"/>
          </a:xfrm>
          <a:prstGeom prst="rect">
            <a:avLst/>
          </a:prstGeom>
        </p:spPr>
      </p:pic>
      <p:sp>
        <p:nvSpPr>
          <p:cNvPr id="3" name="Rectangle 57">
            <a:extLst>
              <a:ext uri="{FF2B5EF4-FFF2-40B4-BE49-F238E27FC236}">
                <a16:creationId xmlns:a16="http://schemas.microsoft.com/office/drawing/2014/main" id="{29327732-E618-3431-553A-2289D6AF9ECA}"/>
              </a:ext>
            </a:extLst>
          </p:cNvPr>
          <p:cNvSpPr/>
          <p:nvPr/>
        </p:nvSpPr>
        <p:spPr>
          <a:xfrm>
            <a:off x="420967" y="1570535"/>
            <a:ext cx="5400000" cy="1008000"/>
          </a:xfrm>
          <a:prstGeom prst="rect">
            <a:avLst/>
          </a:prstGeom>
          <a:ln>
            <a:solidFill>
              <a:srgbClr val="40B3AA"/>
            </a:solidFill>
          </a:ln>
        </p:spPr>
        <p:txBody>
          <a:bodyPr wrap="square" lIns="0" tIns="0" rIns="0" bIns="0" anchor="ctr">
            <a:noAutofit/>
          </a:bodyPr>
          <a:lstStyle/>
          <a:p>
            <a:pPr marL="71755" algn="ctr" defTabSz="1080000">
              <a:spcBef>
                <a:spcPts val="400"/>
              </a:spcBef>
              <a:spcAft>
                <a:spcPts val="400"/>
              </a:spcAft>
              <a:defRPr b="0" i="0"/>
            </a:pPr>
            <a:r>
              <a:rPr lang="it-IT" sz="2000" dirty="0">
                <a:solidFill>
                  <a:srgbClr val="30636E"/>
                </a:solidFill>
                <a:latin typeface="Bahnschrift Light SemiCondensed"/>
                <a:cs typeface="Henderson BCG Sans Light"/>
              </a:rPr>
              <a:t>Individuazione degli aspetti innovativi di progetto</a:t>
            </a:r>
            <a:endParaRPr lang="it-IT" sz="2000" dirty="0">
              <a:solidFill>
                <a:srgbClr val="30636E"/>
              </a:solidFill>
              <a:latin typeface="Bahnschrift Light SemiCondensed" panose="020B0502040204020203" pitchFamily="34" charset="0"/>
              <a:cs typeface="Henderson BCG Sans Light"/>
            </a:endParaRPr>
          </a:p>
        </p:txBody>
      </p:sp>
      <p:sp>
        <p:nvSpPr>
          <p:cNvPr id="8" name="Rectangle 57">
            <a:extLst>
              <a:ext uri="{FF2B5EF4-FFF2-40B4-BE49-F238E27FC236}">
                <a16:creationId xmlns:a16="http://schemas.microsoft.com/office/drawing/2014/main" id="{36B005A4-20B4-284F-69B8-107D77C6CE4C}"/>
              </a:ext>
            </a:extLst>
          </p:cNvPr>
          <p:cNvSpPr/>
          <p:nvPr/>
        </p:nvSpPr>
        <p:spPr>
          <a:xfrm>
            <a:off x="6450258" y="1570535"/>
            <a:ext cx="5400000" cy="1008000"/>
          </a:xfrm>
          <a:prstGeom prst="rect">
            <a:avLst/>
          </a:prstGeom>
          <a:ln>
            <a:solidFill>
              <a:srgbClr val="40B3AA"/>
            </a:solidFill>
          </a:ln>
        </p:spPr>
        <p:txBody>
          <a:bodyPr wrap="square" lIns="0" tIns="0" rIns="0" bIns="0" anchor="ctr">
            <a:noAutofit/>
          </a:bodyPr>
          <a:lstStyle/>
          <a:p>
            <a:pPr marL="71755" algn="ctr" defTabSz="1080000">
              <a:spcBef>
                <a:spcPts val="400"/>
              </a:spcBef>
              <a:spcAft>
                <a:spcPts val="400"/>
              </a:spcAft>
              <a:defRPr b="0" i="0"/>
            </a:pPr>
            <a:r>
              <a:rPr lang="it-IT" sz="2000" dirty="0">
                <a:solidFill>
                  <a:srgbClr val="30636E"/>
                </a:solidFill>
                <a:latin typeface="Bahnschrift Light SemiCondensed"/>
                <a:sym typeface="+mn-lt"/>
              </a:rPr>
              <a:t>Scouting tecnologico e </a:t>
            </a:r>
            <a:r>
              <a:rPr lang="it-IT" sz="2000" b="1" dirty="0">
                <a:solidFill>
                  <a:srgbClr val="40B3AA"/>
                </a:solidFill>
                <a:latin typeface="Bahnschrift Light SemiCondensed" panose="020B0502040204020203" pitchFamily="34" charset="0"/>
                <a:sym typeface="+mn-lt"/>
              </a:rPr>
              <a:t>studi di fattibilità </a:t>
            </a:r>
            <a:r>
              <a:rPr lang="it-IT" sz="2000" dirty="0">
                <a:solidFill>
                  <a:srgbClr val="30636E"/>
                </a:solidFill>
                <a:latin typeface="Bahnschrift Light SemiCondensed"/>
                <a:sym typeface="+mn-lt"/>
              </a:rPr>
              <a:t>propedeutici </a:t>
            </a:r>
            <a:r>
              <a:rPr lang="it-IT" sz="2000" dirty="0" err="1">
                <a:solidFill>
                  <a:srgbClr val="30636E"/>
                </a:solidFill>
                <a:latin typeface="Bahnschrift Light SemiCondensed"/>
                <a:sym typeface="+mn-lt"/>
              </a:rPr>
              <a:t>all'application</a:t>
            </a:r>
            <a:r>
              <a:rPr lang="it-IT" sz="2000" dirty="0">
                <a:solidFill>
                  <a:srgbClr val="30636E"/>
                </a:solidFill>
                <a:latin typeface="Bahnschrift Light SemiCondensed"/>
                <a:sym typeface="+mn-lt"/>
              </a:rPr>
              <a:t>.</a:t>
            </a:r>
            <a:endParaRPr lang="en-US" dirty="0"/>
          </a:p>
        </p:txBody>
      </p:sp>
      <p:sp>
        <p:nvSpPr>
          <p:cNvPr id="4" name="Rectangle 57">
            <a:extLst>
              <a:ext uri="{FF2B5EF4-FFF2-40B4-BE49-F238E27FC236}">
                <a16:creationId xmlns:a16="http://schemas.microsoft.com/office/drawing/2014/main" id="{18A80348-DB0E-FA1D-0537-020F88210CAF}"/>
              </a:ext>
            </a:extLst>
          </p:cNvPr>
          <p:cNvSpPr/>
          <p:nvPr/>
        </p:nvSpPr>
        <p:spPr>
          <a:xfrm>
            <a:off x="420967" y="4051921"/>
            <a:ext cx="5400000" cy="1008000"/>
          </a:xfrm>
          <a:prstGeom prst="rect">
            <a:avLst/>
          </a:prstGeom>
          <a:ln>
            <a:solidFill>
              <a:srgbClr val="40B3AA"/>
            </a:solidFill>
          </a:ln>
        </p:spPr>
        <p:txBody>
          <a:bodyPr wrap="square" lIns="0" tIns="0" rIns="0" bIns="0" anchor="ctr">
            <a:noAutofit/>
          </a:bodyPr>
          <a:lstStyle/>
          <a:p>
            <a:pPr marL="71755" algn="ctr" defTabSz="1080000">
              <a:spcBef>
                <a:spcPts val="400"/>
              </a:spcBef>
              <a:spcAft>
                <a:spcPts val="400"/>
              </a:spcAft>
              <a:defRPr b="0" i="0"/>
            </a:pPr>
            <a:r>
              <a:rPr lang="it-IT" sz="2000" dirty="0">
                <a:solidFill>
                  <a:srgbClr val="30636E"/>
                </a:solidFill>
                <a:latin typeface="Bahnschrift Light SemiCondensed"/>
                <a:cs typeface="Henderson BCG Sans Light"/>
              </a:rPr>
              <a:t>Focus particolare sugli aspetti chiave richiesti dall'IF</a:t>
            </a:r>
            <a:endParaRPr lang="it-IT" sz="2000" dirty="0">
              <a:solidFill>
                <a:srgbClr val="30636E"/>
              </a:solidFill>
              <a:latin typeface="Bahnschrift Light SemiCondensed" panose="020B0502040204020203" pitchFamily="34" charset="0"/>
              <a:cs typeface="Henderson BCG Sans Light"/>
            </a:endParaRPr>
          </a:p>
        </p:txBody>
      </p:sp>
      <p:sp>
        <p:nvSpPr>
          <p:cNvPr id="5" name="Rectangle 57">
            <a:extLst>
              <a:ext uri="{FF2B5EF4-FFF2-40B4-BE49-F238E27FC236}">
                <a16:creationId xmlns:a16="http://schemas.microsoft.com/office/drawing/2014/main" id="{F5870517-4C89-06B0-5DE6-3307CC8602A6}"/>
              </a:ext>
            </a:extLst>
          </p:cNvPr>
          <p:cNvSpPr/>
          <p:nvPr/>
        </p:nvSpPr>
        <p:spPr>
          <a:xfrm>
            <a:off x="6450258" y="4051921"/>
            <a:ext cx="5400000" cy="1008000"/>
          </a:xfrm>
          <a:prstGeom prst="rect">
            <a:avLst/>
          </a:prstGeom>
          <a:ln>
            <a:solidFill>
              <a:srgbClr val="40B3AA"/>
            </a:solidFill>
          </a:ln>
        </p:spPr>
        <p:txBody>
          <a:bodyPr wrap="square" lIns="0" tIns="0" rIns="0" bIns="0" anchor="ctr">
            <a:noAutofit/>
          </a:bodyPr>
          <a:lstStyle/>
          <a:p>
            <a:pPr marL="71755" algn="ctr" defTabSz="1080000">
              <a:spcBef>
                <a:spcPts val="400"/>
              </a:spcBef>
              <a:spcAft>
                <a:spcPts val="400"/>
              </a:spcAft>
              <a:defRPr b="0" i="0"/>
            </a:pPr>
            <a:r>
              <a:rPr lang="it-IT" sz="2000" b="1" dirty="0">
                <a:solidFill>
                  <a:srgbClr val="40B3AA"/>
                </a:solidFill>
                <a:latin typeface="Bahnschrift Light SemiCondensed" panose="020B0502040204020203" pitchFamily="34" charset="0"/>
              </a:rPr>
              <a:t>TRL adeguato della tecnologia</a:t>
            </a:r>
            <a:r>
              <a:rPr lang="it-IT" sz="2000" dirty="0">
                <a:solidFill>
                  <a:srgbClr val="30636E"/>
                </a:solidFill>
                <a:latin typeface="Bahnschrift Light SemiCondensed"/>
                <a:cs typeface="Henderson BCG Sans Light"/>
              </a:rPr>
              <a:t>; adeguata e comprovata efficienza di rimozione CO2, replicabilità  </a:t>
            </a:r>
            <a:endParaRPr lang="it-IT" sz="2000" dirty="0">
              <a:solidFill>
                <a:srgbClr val="30636E"/>
              </a:solidFill>
              <a:latin typeface="Bahnschrift Light SemiCondensed" panose="020B0502040204020203" pitchFamily="34" charset="0"/>
              <a:cs typeface="Henderson BCG Sans Light"/>
            </a:endParaRPr>
          </a:p>
        </p:txBody>
      </p:sp>
      <p:cxnSp>
        <p:nvCxnSpPr>
          <p:cNvPr id="41" name="Straight Connector 21">
            <a:extLst>
              <a:ext uri="{FF2B5EF4-FFF2-40B4-BE49-F238E27FC236}">
                <a16:creationId xmlns:a16="http://schemas.microsoft.com/office/drawing/2014/main" id="{28197F6B-4810-9179-3388-B2CE5D3A3C08}"/>
              </a:ext>
            </a:extLst>
          </p:cNvPr>
          <p:cNvCxnSpPr>
            <a:cxnSpLocks/>
          </p:cNvCxnSpPr>
          <p:nvPr/>
        </p:nvCxnSpPr>
        <p:spPr>
          <a:xfrm>
            <a:off x="6135613" y="1567821"/>
            <a:ext cx="0" cy="1008000"/>
          </a:xfrm>
          <a:prstGeom prst="line">
            <a:avLst/>
          </a:prstGeom>
          <a:ln w="9525" cap="rnd">
            <a:solidFill>
              <a:srgbClr val="9A9A9A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2" name="Group 22">
            <a:extLst>
              <a:ext uri="{FF2B5EF4-FFF2-40B4-BE49-F238E27FC236}">
                <a16:creationId xmlns:a16="http://schemas.microsoft.com/office/drawing/2014/main" id="{B193B2D2-01F9-62F4-F021-3C160A085918}"/>
              </a:ext>
            </a:extLst>
          </p:cNvPr>
          <p:cNvGrpSpPr/>
          <p:nvPr/>
        </p:nvGrpSpPr>
        <p:grpSpPr>
          <a:xfrm>
            <a:off x="5953364" y="1888710"/>
            <a:ext cx="364496" cy="374956"/>
            <a:chOff x="5937564" y="2159679"/>
            <a:chExt cx="306171" cy="306910"/>
          </a:xfrm>
        </p:grpSpPr>
        <p:sp>
          <p:nvSpPr>
            <p:cNvPr id="43" name="Freeform 94">
              <a:extLst>
                <a:ext uri="{FF2B5EF4-FFF2-40B4-BE49-F238E27FC236}">
                  <a16:creationId xmlns:a16="http://schemas.microsoft.com/office/drawing/2014/main" id="{9CCCD38D-F3A5-D463-7349-ACA1D0BBD64A}"/>
                </a:ext>
              </a:extLst>
            </p:cNvPr>
            <p:cNvSpPr>
              <a:spLocks/>
            </p:cNvSpPr>
            <p:nvPr/>
          </p:nvSpPr>
          <p:spPr bwMode="gray">
            <a:xfrm>
              <a:off x="5937564" y="2159679"/>
              <a:ext cx="306171" cy="306910"/>
            </a:xfrm>
            <a:custGeom>
              <a:avLst/>
              <a:gdLst>
                <a:gd name="T0" fmla="*/ 0 w 1052"/>
                <a:gd name="T1" fmla="*/ 526 h 1052"/>
                <a:gd name="T2" fmla="*/ 0 w 1052"/>
                <a:gd name="T3" fmla="*/ 526 h 1052"/>
                <a:gd name="T4" fmla="*/ 526 w 1052"/>
                <a:gd name="T5" fmla="*/ 0 h 1052"/>
                <a:gd name="T6" fmla="*/ 1052 w 1052"/>
                <a:gd name="T7" fmla="*/ 526 h 1052"/>
                <a:gd name="T8" fmla="*/ 1052 w 1052"/>
                <a:gd name="T9" fmla="*/ 526 h 1052"/>
                <a:gd name="T10" fmla="*/ 526 w 1052"/>
                <a:gd name="T11" fmla="*/ 1052 h 1052"/>
                <a:gd name="T12" fmla="*/ 526 w 1052"/>
                <a:gd name="T13" fmla="*/ 1052 h 1052"/>
                <a:gd name="T14" fmla="*/ 0 w 1052"/>
                <a:gd name="T15" fmla="*/ 526 h 10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52" h="1052">
                  <a:moveTo>
                    <a:pt x="0" y="526"/>
                  </a:moveTo>
                  <a:cubicBezTo>
                    <a:pt x="0" y="526"/>
                    <a:pt x="0" y="526"/>
                    <a:pt x="0" y="526"/>
                  </a:cubicBezTo>
                  <a:cubicBezTo>
                    <a:pt x="0" y="236"/>
                    <a:pt x="236" y="0"/>
                    <a:pt x="526" y="0"/>
                  </a:cubicBezTo>
                  <a:cubicBezTo>
                    <a:pt x="817" y="0"/>
                    <a:pt x="1052" y="236"/>
                    <a:pt x="1052" y="526"/>
                  </a:cubicBezTo>
                  <a:cubicBezTo>
                    <a:pt x="1052" y="526"/>
                    <a:pt x="1052" y="526"/>
                    <a:pt x="1052" y="526"/>
                  </a:cubicBezTo>
                  <a:cubicBezTo>
                    <a:pt x="1052" y="817"/>
                    <a:pt x="817" y="1052"/>
                    <a:pt x="526" y="1052"/>
                  </a:cubicBezTo>
                  <a:cubicBezTo>
                    <a:pt x="526" y="1052"/>
                    <a:pt x="526" y="1052"/>
                    <a:pt x="526" y="1052"/>
                  </a:cubicBezTo>
                  <a:cubicBezTo>
                    <a:pt x="236" y="1052"/>
                    <a:pt x="0" y="817"/>
                    <a:pt x="0" y="526"/>
                  </a:cubicBezTo>
                  <a:close/>
                </a:path>
              </a:pathLst>
            </a:custGeom>
            <a:solidFill>
              <a:schemeClr val="tx2"/>
            </a:solidFill>
            <a:ln>
              <a:solidFill>
                <a:schemeClr val="tx2"/>
              </a:solidFill>
            </a:ln>
          </p:spPr>
          <p:txBody>
            <a:bodyPr vert="horz" wrap="square" lIns="88641" tIns="44321" rIns="88641" bIns="44321" numCol="1" anchor="t" anchorCtr="0" compatLnSpc="1">
              <a:prstTxWarp prst="textNoShape">
                <a:avLst/>
              </a:prstTxWarp>
            </a:bodyPr>
            <a:lstStyle/>
            <a:p>
              <a:endParaRPr lang="it-IT" dirty="0">
                <a:solidFill>
                  <a:srgbClr val="6E6F73"/>
                </a:solidFill>
                <a:latin typeface="+mj-lt"/>
              </a:endParaRPr>
            </a:p>
          </p:txBody>
        </p:sp>
        <p:sp>
          <p:nvSpPr>
            <p:cNvPr id="44" name="Freeform 95">
              <a:extLst>
                <a:ext uri="{FF2B5EF4-FFF2-40B4-BE49-F238E27FC236}">
                  <a16:creationId xmlns:a16="http://schemas.microsoft.com/office/drawing/2014/main" id="{41E5A71E-4292-BB9D-1272-A3973F3DA773}"/>
                </a:ext>
              </a:extLst>
            </p:cNvPr>
            <p:cNvSpPr>
              <a:spLocks/>
            </p:cNvSpPr>
            <p:nvPr/>
          </p:nvSpPr>
          <p:spPr bwMode="gray">
            <a:xfrm>
              <a:off x="6048661" y="2209971"/>
              <a:ext cx="120251" cy="224731"/>
            </a:xfrm>
            <a:custGeom>
              <a:avLst/>
              <a:gdLst>
                <a:gd name="T0" fmla="*/ 66 w 976"/>
                <a:gd name="T1" fmla="*/ 1824 h 1824"/>
                <a:gd name="T2" fmla="*/ 0 w 976"/>
                <a:gd name="T3" fmla="*/ 1758 h 1824"/>
                <a:gd name="T4" fmla="*/ 843 w 976"/>
                <a:gd name="T5" fmla="*/ 912 h 1824"/>
                <a:gd name="T6" fmla="*/ 0 w 976"/>
                <a:gd name="T7" fmla="*/ 66 h 1824"/>
                <a:gd name="T8" fmla="*/ 66 w 976"/>
                <a:gd name="T9" fmla="*/ 0 h 1824"/>
                <a:gd name="T10" fmla="*/ 976 w 976"/>
                <a:gd name="T11" fmla="*/ 912 h 1824"/>
                <a:gd name="T12" fmla="*/ 66 w 976"/>
                <a:gd name="T13" fmla="*/ 1824 h 18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76" h="1824">
                  <a:moveTo>
                    <a:pt x="66" y="1824"/>
                  </a:moveTo>
                  <a:lnTo>
                    <a:pt x="0" y="1758"/>
                  </a:lnTo>
                  <a:lnTo>
                    <a:pt x="843" y="912"/>
                  </a:lnTo>
                  <a:lnTo>
                    <a:pt x="0" y="66"/>
                  </a:lnTo>
                  <a:lnTo>
                    <a:pt x="66" y="0"/>
                  </a:lnTo>
                  <a:lnTo>
                    <a:pt x="976" y="912"/>
                  </a:lnTo>
                  <a:lnTo>
                    <a:pt x="66" y="182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8641" tIns="44321" rIns="88641" bIns="44321" numCol="1" anchor="t" anchorCtr="0" compatLnSpc="1">
              <a:prstTxWarp prst="textNoShape">
                <a:avLst/>
              </a:prstTxWarp>
            </a:bodyPr>
            <a:lstStyle/>
            <a:p>
              <a:endParaRPr lang="it-IT">
                <a:solidFill>
                  <a:srgbClr val="6E6F73"/>
                </a:solidFill>
                <a:latin typeface="+mj-lt"/>
              </a:endParaRPr>
            </a:p>
          </p:txBody>
        </p:sp>
      </p:grpSp>
      <p:cxnSp>
        <p:nvCxnSpPr>
          <p:cNvPr id="46" name="Straight Connector 21">
            <a:extLst>
              <a:ext uri="{FF2B5EF4-FFF2-40B4-BE49-F238E27FC236}">
                <a16:creationId xmlns:a16="http://schemas.microsoft.com/office/drawing/2014/main" id="{D6BCF7C8-14B6-F4DB-06BA-E2EBBB4648AF}"/>
              </a:ext>
            </a:extLst>
          </p:cNvPr>
          <p:cNvCxnSpPr>
            <a:cxnSpLocks/>
          </p:cNvCxnSpPr>
          <p:nvPr/>
        </p:nvCxnSpPr>
        <p:spPr>
          <a:xfrm>
            <a:off x="6135682" y="2814227"/>
            <a:ext cx="0" cy="1008000"/>
          </a:xfrm>
          <a:prstGeom prst="line">
            <a:avLst/>
          </a:prstGeom>
          <a:ln w="9525" cap="rnd">
            <a:solidFill>
              <a:srgbClr val="9A9A9A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7" name="Group 22">
            <a:extLst>
              <a:ext uri="{FF2B5EF4-FFF2-40B4-BE49-F238E27FC236}">
                <a16:creationId xmlns:a16="http://schemas.microsoft.com/office/drawing/2014/main" id="{2E2AF71E-F3F5-094A-6224-24CFFDF079E9}"/>
              </a:ext>
            </a:extLst>
          </p:cNvPr>
          <p:cNvGrpSpPr/>
          <p:nvPr/>
        </p:nvGrpSpPr>
        <p:grpSpPr>
          <a:xfrm>
            <a:off x="5953433" y="3144949"/>
            <a:ext cx="364496" cy="374956"/>
            <a:chOff x="5937564" y="2159679"/>
            <a:chExt cx="306171" cy="306910"/>
          </a:xfrm>
        </p:grpSpPr>
        <p:sp>
          <p:nvSpPr>
            <p:cNvPr id="48" name="Freeform 94">
              <a:extLst>
                <a:ext uri="{FF2B5EF4-FFF2-40B4-BE49-F238E27FC236}">
                  <a16:creationId xmlns:a16="http://schemas.microsoft.com/office/drawing/2014/main" id="{484FC502-47B6-3FDA-08B5-1FF2846CC684}"/>
                </a:ext>
              </a:extLst>
            </p:cNvPr>
            <p:cNvSpPr>
              <a:spLocks/>
            </p:cNvSpPr>
            <p:nvPr/>
          </p:nvSpPr>
          <p:spPr bwMode="gray">
            <a:xfrm>
              <a:off x="5937564" y="2159679"/>
              <a:ext cx="306171" cy="306910"/>
            </a:xfrm>
            <a:custGeom>
              <a:avLst/>
              <a:gdLst>
                <a:gd name="T0" fmla="*/ 0 w 1052"/>
                <a:gd name="T1" fmla="*/ 526 h 1052"/>
                <a:gd name="T2" fmla="*/ 0 w 1052"/>
                <a:gd name="T3" fmla="*/ 526 h 1052"/>
                <a:gd name="T4" fmla="*/ 526 w 1052"/>
                <a:gd name="T5" fmla="*/ 0 h 1052"/>
                <a:gd name="T6" fmla="*/ 1052 w 1052"/>
                <a:gd name="T7" fmla="*/ 526 h 1052"/>
                <a:gd name="T8" fmla="*/ 1052 w 1052"/>
                <a:gd name="T9" fmla="*/ 526 h 1052"/>
                <a:gd name="T10" fmla="*/ 526 w 1052"/>
                <a:gd name="T11" fmla="*/ 1052 h 1052"/>
                <a:gd name="T12" fmla="*/ 526 w 1052"/>
                <a:gd name="T13" fmla="*/ 1052 h 1052"/>
                <a:gd name="T14" fmla="*/ 0 w 1052"/>
                <a:gd name="T15" fmla="*/ 526 h 10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52" h="1052">
                  <a:moveTo>
                    <a:pt x="0" y="526"/>
                  </a:moveTo>
                  <a:cubicBezTo>
                    <a:pt x="0" y="526"/>
                    <a:pt x="0" y="526"/>
                    <a:pt x="0" y="526"/>
                  </a:cubicBezTo>
                  <a:cubicBezTo>
                    <a:pt x="0" y="236"/>
                    <a:pt x="236" y="0"/>
                    <a:pt x="526" y="0"/>
                  </a:cubicBezTo>
                  <a:cubicBezTo>
                    <a:pt x="817" y="0"/>
                    <a:pt x="1052" y="236"/>
                    <a:pt x="1052" y="526"/>
                  </a:cubicBezTo>
                  <a:cubicBezTo>
                    <a:pt x="1052" y="526"/>
                    <a:pt x="1052" y="526"/>
                    <a:pt x="1052" y="526"/>
                  </a:cubicBezTo>
                  <a:cubicBezTo>
                    <a:pt x="1052" y="817"/>
                    <a:pt x="817" y="1052"/>
                    <a:pt x="526" y="1052"/>
                  </a:cubicBezTo>
                  <a:cubicBezTo>
                    <a:pt x="526" y="1052"/>
                    <a:pt x="526" y="1052"/>
                    <a:pt x="526" y="1052"/>
                  </a:cubicBezTo>
                  <a:cubicBezTo>
                    <a:pt x="236" y="1052"/>
                    <a:pt x="0" y="817"/>
                    <a:pt x="0" y="526"/>
                  </a:cubicBezTo>
                  <a:close/>
                </a:path>
              </a:pathLst>
            </a:custGeom>
            <a:solidFill>
              <a:schemeClr val="tx2"/>
            </a:solidFill>
            <a:ln>
              <a:solidFill>
                <a:schemeClr val="tx2"/>
              </a:solidFill>
            </a:ln>
          </p:spPr>
          <p:txBody>
            <a:bodyPr vert="horz" wrap="square" lIns="88641" tIns="44321" rIns="88641" bIns="44321" numCol="1" anchor="t" anchorCtr="0" compatLnSpc="1">
              <a:prstTxWarp prst="textNoShape">
                <a:avLst/>
              </a:prstTxWarp>
            </a:bodyPr>
            <a:lstStyle/>
            <a:p>
              <a:endParaRPr lang="it-IT" dirty="0">
                <a:solidFill>
                  <a:srgbClr val="6E6F73"/>
                </a:solidFill>
                <a:latin typeface="+mj-lt"/>
              </a:endParaRPr>
            </a:p>
          </p:txBody>
        </p:sp>
        <p:sp>
          <p:nvSpPr>
            <p:cNvPr id="49" name="Freeform 95">
              <a:extLst>
                <a:ext uri="{FF2B5EF4-FFF2-40B4-BE49-F238E27FC236}">
                  <a16:creationId xmlns:a16="http://schemas.microsoft.com/office/drawing/2014/main" id="{B84A39D9-1023-D94E-DBB1-45371B9D939C}"/>
                </a:ext>
              </a:extLst>
            </p:cNvPr>
            <p:cNvSpPr>
              <a:spLocks/>
            </p:cNvSpPr>
            <p:nvPr/>
          </p:nvSpPr>
          <p:spPr bwMode="gray">
            <a:xfrm>
              <a:off x="6048661" y="2209971"/>
              <a:ext cx="120251" cy="224731"/>
            </a:xfrm>
            <a:custGeom>
              <a:avLst/>
              <a:gdLst>
                <a:gd name="T0" fmla="*/ 66 w 976"/>
                <a:gd name="T1" fmla="*/ 1824 h 1824"/>
                <a:gd name="T2" fmla="*/ 0 w 976"/>
                <a:gd name="T3" fmla="*/ 1758 h 1824"/>
                <a:gd name="T4" fmla="*/ 843 w 976"/>
                <a:gd name="T5" fmla="*/ 912 h 1824"/>
                <a:gd name="T6" fmla="*/ 0 w 976"/>
                <a:gd name="T7" fmla="*/ 66 h 1824"/>
                <a:gd name="T8" fmla="*/ 66 w 976"/>
                <a:gd name="T9" fmla="*/ 0 h 1824"/>
                <a:gd name="T10" fmla="*/ 976 w 976"/>
                <a:gd name="T11" fmla="*/ 912 h 1824"/>
                <a:gd name="T12" fmla="*/ 66 w 976"/>
                <a:gd name="T13" fmla="*/ 1824 h 18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76" h="1824">
                  <a:moveTo>
                    <a:pt x="66" y="1824"/>
                  </a:moveTo>
                  <a:lnTo>
                    <a:pt x="0" y="1758"/>
                  </a:lnTo>
                  <a:lnTo>
                    <a:pt x="843" y="912"/>
                  </a:lnTo>
                  <a:lnTo>
                    <a:pt x="0" y="66"/>
                  </a:lnTo>
                  <a:lnTo>
                    <a:pt x="66" y="0"/>
                  </a:lnTo>
                  <a:lnTo>
                    <a:pt x="976" y="912"/>
                  </a:lnTo>
                  <a:lnTo>
                    <a:pt x="66" y="182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8641" tIns="44321" rIns="88641" bIns="44321" numCol="1" anchor="t" anchorCtr="0" compatLnSpc="1">
              <a:prstTxWarp prst="textNoShape">
                <a:avLst/>
              </a:prstTxWarp>
            </a:bodyPr>
            <a:lstStyle/>
            <a:p>
              <a:endParaRPr lang="it-IT">
                <a:solidFill>
                  <a:srgbClr val="6E6F73"/>
                </a:solidFill>
                <a:latin typeface="+mj-lt"/>
              </a:endParaRPr>
            </a:p>
          </p:txBody>
        </p:sp>
      </p:grpSp>
      <p:cxnSp>
        <p:nvCxnSpPr>
          <p:cNvPr id="51" name="Straight Connector 21">
            <a:extLst>
              <a:ext uri="{FF2B5EF4-FFF2-40B4-BE49-F238E27FC236}">
                <a16:creationId xmlns:a16="http://schemas.microsoft.com/office/drawing/2014/main" id="{4AAFAF88-80E8-5D68-A03B-C55E3D13EB1E}"/>
              </a:ext>
            </a:extLst>
          </p:cNvPr>
          <p:cNvCxnSpPr>
            <a:cxnSpLocks/>
          </p:cNvCxnSpPr>
          <p:nvPr/>
        </p:nvCxnSpPr>
        <p:spPr>
          <a:xfrm>
            <a:off x="6135613" y="4070273"/>
            <a:ext cx="0" cy="1008000"/>
          </a:xfrm>
          <a:prstGeom prst="line">
            <a:avLst/>
          </a:prstGeom>
          <a:ln w="9525" cap="rnd">
            <a:solidFill>
              <a:srgbClr val="9A9A9A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2" name="Group 22">
            <a:extLst>
              <a:ext uri="{FF2B5EF4-FFF2-40B4-BE49-F238E27FC236}">
                <a16:creationId xmlns:a16="http://schemas.microsoft.com/office/drawing/2014/main" id="{26733200-5699-61BC-A573-C3B74F3BA972}"/>
              </a:ext>
            </a:extLst>
          </p:cNvPr>
          <p:cNvGrpSpPr/>
          <p:nvPr/>
        </p:nvGrpSpPr>
        <p:grpSpPr>
          <a:xfrm>
            <a:off x="5953364" y="4381330"/>
            <a:ext cx="364496" cy="374956"/>
            <a:chOff x="5937564" y="2159679"/>
            <a:chExt cx="306171" cy="306910"/>
          </a:xfrm>
        </p:grpSpPr>
        <p:sp>
          <p:nvSpPr>
            <p:cNvPr id="54" name="Freeform 94">
              <a:extLst>
                <a:ext uri="{FF2B5EF4-FFF2-40B4-BE49-F238E27FC236}">
                  <a16:creationId xmlns:a16="http://schemas.microsoft.com/office/drawing/2014/main" id="{FE17C7FF-6E42-20BE-534C-AAF9C0095404}"/>
                </a:ext>
              </a:extLst>
            </p:cNvPr>
            <p:cNvSpPr>
              <a:spLocks/>
            </p:cNvSpPr>
            <p:nvPr/>
          </p:nvSpPr>
          <p:spPr bwMode="gray">
            <a:xfrm>
              <a:off x="5937564" y="2159679"/>
              <a:ext cx="306171" cy="306910"/>
            </a:xfrm>
            <a:custGeom>
              <a:avLst/>
              <a:gdLst>
                <a:gd name="T0" fmla="*/ 0 w 1052"/>
                <a:gd name="T1" fmla="*/ 526 h 1052"/>
                <a:gd name="T2" fmla="*/ 0 w 1052"/>
                <a:gd name="T3" fmla="*/ 526 h 1052"/>
                <a:gd name="T4" fmla="*/ 526 w 1052"/>
                <a:gd name="T5" fmla="*/ 0 h 1052"/>
                <a:gd name="T6" fmla="*/ 1052 w 1052"/>
                <a:gd name="T7" fmla="*/ 526 h 1052"/>
                <a:gd name="T8" fmla="*/ 1052 w 1052"/>
                <a:gd name="T9" fmla="*/ 526 h 1052"/>
                <a:gd name="T10" fmla="*/ 526 w 1052"/>
                <a:gd name="T11" fmla="*/ 1052 h 1052"/>
                <a:gd name="T12" fmla="*/ 526 w 1052"/>
                <a:gd name="T13" fmla="*/ 1052 h 1052"/>
                <a:gd name="T14" fmla="*/ 0 w 1052"/>
                <a:gd name="T15" fmla="*/ 526 h 10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52" h="1052">
                  <a:moveTo>
                    <a:pt x="0" y="526"/>
                  </a:moveTo>
                  <a:cubicBezTo>
                    <a:pt x="0" y="526"/>
                    <a:pt x="0" y="526"/>
                    <a:pt x="0" y="526"/>
                  </a:cubicBezTo>
                  <a:cubicBezTo>
                    <a:pt x="0" y="236"/>
                    <a:pt x="236" y="0"/>
                    <a:pt x="526" y="0"/>
                  </a:cubicBezTo>
                  <a:cubicBezTo>
                    <a:pt x="817" y="0"/>
                    <a:pt x="1052" y="236"/>
                    <a:pt x="1052" y="526"/>
                  </a:cubicBezTo>
                  <a:cubicBezTo>
                    <a:pt x="1052" y="526"/>
                    <a:pt x="1052" y="526"/>
                    <a:pt x="1052" y="526"/>
                  </a:cubicBezTo>
                  <a:cubicBezTo>
                    <a:pt x="1052" y="817"/>
                    <a:pt x="817" y="1052"/>
                    <a:pt x="526" y="1052"/>
                  </a:cubicBezTo>
                  <a:cubicBezTo>
                    <a:pt x="526" y="1052"/>
                    <a:pt x="526" y="1052"/>
                    <a:pt x="526" y="1052"/>
                  </a:cubicBezTo>
                  <a:cubicBezTo>
                    <a:pt x="236" y="1052"/>
                    <a:pt x="0" y="817"/>
                    <a:pt x="0" y="526"/>
                  </a:cubicBezTo>
                  <a:close/>
                </a:path>
              </a:pathLst>
            </a:custGeom>
            <a:solidFill>
              <a:schemeClr val="tx2"/>
            </a:solidFill>
            <a:ln>
              <a:solidFill>
                <a:schemeClr val="tx2"/>
              </a:solidFill>
            </a:ln>
          </p:spPr>
          <p:txBody>
            <a:bodyPr vert="horz" wrap="square" lIns="88641" tIns="44321" rIns="88641" bIns="44321" numCol="1" anchor="t" anchorCtr="0" compatLnSpc="1">
              <a:prstTxWarp prst="textNoShape">
                <a:avLst/>
              </a:prstTxWarp>
            </a:bodyPr>
            <a:lstStyle/>
            <a:p>
              <a:endParaRPr lang="it-IT" dirty="0">
                <a:solidFill>
                  <a:srgbClr val="6E6F73"/>
                </a:solidFill>
                <a:latin typeface="+mj-lt"/>
              </a:endParaRPr>
            </a:p>
          </p:txBody>
        </p:sp>
        <p:sp>
          <p:nvSpPr>
            <p:cNvPr id="55" name="Freeform 95">
              <a:extLst>
                <a:ext uri="{FF2B5EF4-FFF2-40B4-BE49-F238E27FC236}">
                  <a16:creationId xmlns:a16="http://schemas.microsoft.com/office/drawing/2014/main" id="{6359AD6C-4F39-5193-070F-40059E115D2B}"/>
                </a:ext>
              </a:extLst>
            </p:cNvPr>
            <p:cNvSpPr>
              <a:spLocks/>
            </p:cNvSpPr>
            <p:nvPr/>
          </p:nvSpPr>
          <p:spPr bwMode="gray">
            <a:xfrm>
              <a:off x="6048661" y="2209971"/>
              <a:ext cx="120251" cy="224731"/>
            </a:xfrm>
            <a:custGeom>
              <a:avLst/>
              <a:gdLst>
                <a:gd name="T0" fmla="*/ 66 w 976"/>
                <a:gd name="T1" fmla="*/ 1824 h 1824"/>
                <a:gd name="T2" fmla="*/ 0 w 976"/>
                <a:gd name="T3" fmla="*/ 1758 h 1824"/>
                <a:gd name="T4" fmla="*/ 843 w 976"/>
                <a:gd name="T5" fmla="*/ 912 h 1824"/>
                <a:gd name="T6" fmla="*/ 0 w 976"/>
                <a:gd name="T7" fmla="*/ 66 h 1824"/>
                <a:gd name="T8" fmla="*/ 66 w 976"/>
                <a:gd name="T9" fmla="*/ 0 h 1824"/>
                <a:gd name="T10" fmla="*/ 976 w 976"/>
                <a:gd name="T11" fmla="*/ 912 h 1824"/>
                <a:gd name="T12" fmla="*/ 66 w 976"/>
                <a:gd name="T13" fmla="*/ 1824 h 18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76" h="1824">
                  <a:moveTo>
                    <a:pt x="66" y="1824"/>
                  </a:moveTo>
                  <a:lnTo>
                    <a:pt x="0" y="1758"/>
                  </a:lnTo>
                  <a:lnTo>
                    <a:pt x="843" y="912"/>
                  </a:lnTo>
                  <a:lnTo>
                    <a:pt x="0" y="66"/>
                  </a:lnTo>
                  <a:lnTo>
                    <a:pt x="66" y="0"/>
                  </a:lnTo>
                  <a:lnTo>
                    <a:pt x="976" y="912"/>
                  </a:lnTo>
                  <a:lnTo>
                    <a:pt x="66" y="182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8641" tIns="44321" rIns="88641" bIns="44321" numCol="1" anchor="t" anchorCtr="0" compatLnSpc="1">
              <a:prstTxWarp prst="textNoShape">
                <a:avLst/>
              </a:prstTxWarp>
            </a:bodyPr>
            <a:lstStyle/>
            <a:p>
              <a:endParaRPr lang="it-IT">
                <a:solidFill>
                  <a:srgbClr val="6E6F73"/>
                </a:solidFill>
                <a:latin typeface="+mj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71739601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584EE98-5BDC-41D9-0B2F-120C8594813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" name="Title 1">
            <a:extLst>
              <a:ext uri="{FF2B5EF4-FFF2-40B4-BE49-F238E27FC236}">
                <a16:creationId xmlns:a16="http://schemas.microsoft.com/office/drawing/2014/main" id="{765BDF97-018B-197F-B640-2408F400646F}"/>
              </a:ext>
            </a:extLst>
          </p:cNvPr>
          <p:cNvSpPr txBox="1">
            <a:spLocks/>
          </p:cNvSpPr>
          <p:nvPr/>
        </p:nvSpPr>
        <p:spPr>
          <a:xfrm>
            <a:off x="256464" y="84981"/>
            <a:ext cx="11421186" cy="954107"/>
          </a:xfrm>
          <a:prstGeom prst="rect">
            <a:avLst/>
          </a:prstGeom>
          <a:noFill/>
          <a:ln>
            <a:noFill/>
          </a:ln>
        </p:spPr>
        <p:txBody>
          <a:bodyPr vert="horz" lIns="0" tIns="0" rIns="0" bIns="0" rtlCol="0" anchor="ctr" anchorCtr="0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it-IT" sz="2400" b="1" kern="1200">
                <a:solidFill>
                  <a:srgbClr val="054977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r>
              <a:rPr lang="it-IT" sz="3200" b="0" dirty="0">
                <a:solidFill>
                  <a:srgbClr val="30636E"/>
                </a:solidFill>
                <a:latin typeface="Bahnschrift Light SemiCondensed" panose="020B0502040204020203" pitchFamily="34" charset="0"/>
                <a:ea typeface="+mn-ea"/>
                <a:cs typeface="+mn-cs"/>
              </a:rPr>
              <a:t>Lesson </a:t>
            </a:r>
            <a:r>
              <a:rPr lang="it-IT" sz="3200" b="0" dirty="0" err="1">
                <a:solidFill>
                  <a:srgbClr val="30636E"/>
                </a:solidFill>
                <a:latin typeface="Bahnschrift Light SemiCondensed" panose="020B0502040204020203" pitchFamily="34" charset="0"/>
                <a:ea typeface="+mn-ea"/>
                <a:cs typeface="+mn-cs"/>
              </a:rPr>
              <a:t>learnt</a:t>
            </a:r>
            <a:r>
              <a:rPr lang="it-IT" sz="3200" b="0" dirty="0">
                <a:solidFill>
                  <a:srgbClr val="30636E"/>
                </a:solidFill>
                <a:latin typeface="Bahnschrift Light SemiCondensed" panose="020B0502040204020203" pitchFamily="34" charset="0"/>
                <a:ea typeface="+mn-ea"/>
                <a:cs typeface="+mn-cs"/>
              </a:rPr>
              <a:t>: aspetti economici e finanziari</a:t>
            </a:r>
          </a:p>
        </p:txBody>
      </p:sp>
      <p:sp>
        <p:nvSpPr>
          <p:cNvPr id="2" name="Rectangle 57">
            <a:extLst>
              <a:ext uri="{FF2B5EF4-FFF2-40B4-BE49-F238E27FC236}">
                <a16:creationId xmlns:a16="http://schemas.microsoft.com/office/drawing/2014/main" id="{37F017D9-86A3-65C2-16E0-46C869F4E7F2}"/>
              </a:ext>
            </a:extLst>
          </p:cNvPr>
          <p:cNvSpPr/>
          <p:nvPr/>
        </p:nvSpPr>
        <p:spPr>
          <a:xfrm>
            <a:off x="268078" y="972471"/>
            <a:ext cx="5631202" cy="36933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  <a:defRPr b="0" i="0"/>
            </a:pPr>
            <a:r>
              <a:rPr lang="it-IT" sz="2400" b="1" dirty="0">
                <a:solidFill>
                  <a:srgbClr val="30636E"/>
                </a:solidFill>
                <a:latin typeface="Bahnschrift Light SemiCondensed" panose="020B0502040204020203" pitchFamily="34" charset="0"/>
                <a:cs typeface="Henderson BCG Sans Light"/>
                <a:sym typeface="+mn-lt"/>
              </a:rPr>
              <a:t>Sfide progettuali</a:t>
            </a:r>
          </a:p>
        </p:txBody>
      </p:sp>
      <p:sp>
        <p:nvSpPr>
          <p:cNvPr id="72" name="Rectangle 57">
            <a:extLst>
              <a:ext uri="{FF2B5EF4-FFF2-40B4-BE49-F238E27FC236}">
                <a16:creationId xmlns:a16="http://schemas.microsoft.com/office/drawing/2014/main" id="{A26B2445-FF36-BFD1-FB22-0B7C391893C7}"/>
              </a:ext>
            </a:extLst>
          </p:cNvPr>
          <p:cNvSpPr/>
          <p:nvPr/>
        </p:nvSpPr>
        <p:spPr>
          <a:xfrm>
            <a:off x="6224685" y="967040"/>
            <a:ext cx="5631202" cy="36933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  <a:defRPr b="0" i="0"/>
            </a:pPr>
            <a:r>
              <a:rPr lang="it-IT" sz="2400" b="1">
                <a:solidFill>
                  <a:srgbClr val="30636E"/>
                </a:solidFill>
                <a:latin typeface="Bahnschrift Light SemiCondensed" panose="020B0502040204020203" pitchFamily="34" charset="0"/>
                <a:cs typeface="Henderson BCG Sans Light"/>
                <a:sym typeface="+mn-lt"/>
              </a:rPr>
              <a:t>Lesson </a:t>
            </a:r>
            <a:r>
              <a:rPr lang="it-IT" sz="2400" b="1" err="1">
                <a:solidFill>
                  <a:srgbClr val="30636E"/>
                </a:solidFill>
                <a:latin typeface="Bahnschrift Light SemiCondensed" panose="020B0502040204020203" pitchFamily="34" charset="0"/>
                <a:cs typeface="Henderson BCG Sans Light"/>
                <a:sym typeface="+mn-lt"/>
              </a:rPr>
              <a:t>learnt</a:t>
            </a:r>
            <a:r>
              <a:rPr lang="it-IT" sz="2400" b="1">
                <a:solidFill>
                  <a:srgbClr val="30636E"/>
                </a:solidFill>
                <a:latin typeface="Bahnschrift Light SemiCondensed" panose="020B0502040204020203" pitchFamily="34" charset="0"/>
                <a:cs typeface="Henderson BCG Sans Light"/>
                <a:sym typeface="+mn-lt"/>
              </a:rPr>
              <a:t> </a:t>
            </a:r>
          </a:p>
        </p:txBody>
      </p:sp>
      <p:sp>
        <p:nvSpPr>
          <p:cNvPr id="16" name="Rectangle 57">
            <a:extLst>
              <a:ext uri="{FF2B5EF4-FFF2-40B4-BE49-F238E27FC236}">
                <a16:creationId xmlns:a16="http://schemas.microsoft.com/office/drawing/2014/main" id="{163F7340-0748-BCC1-BE04-D140590204DD}"/>
              </a:ext>
            </a:extLst>
          </p:cNvPr>
          <p:cNvSpPr/>
          <p:nvPr/>
        </p:nvSpPr>
        <p:spPr>
          <a:xfrm>
            <a:off x="420967" y="2653912"/>
            <a:ext cx="5400000" cy="1008000"/>
          </a:xfrm>
          <a:prstGeom prst="rect">
            <a:avLst/>
          </a:prstGeom>
          <a:ln>
            <a:solidFill>
              <a:srgbClr val="40B3AA"/>
            </a:solidFill>
          </a:ln>
        </p:spPr>
        <p:txBody>
          <a:bodyPr wrap="square" lIns="0" tIns="0" rIns="0" bIns="0" anchor="ctr">
            <a:noAutofit/>
          </a:bodyPr>
          <a:lstStyle/>
          <a:p>
            <a:pPr marL="72000" algn="ctr">
              <a:spcBef>
                <a:spcPct val="0"/>
              </a:spcBef>
              <a:spcAft>
                <a:spcPct val="0"/>
              </a:spcAft>
              <a:defRPr b="0" i="0"/>
            </a:pPr>
            <a:r>
              <a:rPr lang="it-IT" sz="2000" dirty="0">
                <a:solidFill>
                  <a:srgbClr val="30636E"/>
                </a:solidFill>
                <a:latin typeface="Bahnschrift Light SemiCondensed" panose="020B0502040204020203" pitchFamily="34" charset="0"/>
                <a:cs typeface="Henderson BCG Sans Light"/>
                <a:sym typeface="+mn-lt"/>
              </a:rPr>
              <a:t>Dimostrare la solidità della struttura finanziaria del progetto</a:t>
            </a:r>
          </a:p>
        </p:txBody>
      </p:sp>
      <p:sp>
        <p:nvSpPr>
          <p:cNvPr id="17" name="Rectangle 57">
            <a:extLst>
              <a:ext uri="{FF2B5EF4-FFF2-40B4-BE49-F238E27FC236}">
                <a16:creationId xmlns:a16="http://schemas.microsoft.com/office/drawing/2014/main" id="{DE682329-24ED-25F3-75B9-D397C3FF5D5D}"/>
              </a:ext>
            </a:extLst>
          </p:cNvPr>
          <p:cNvSpPr/>
          <p:nvPr/>
        </p:nvSpPr>
        <p:spPr>
          <a:xfrm>
            <a:off x="6450258" y="2653912"/>
            <a:ext cx="5400000" cy="1008000"/>
          </a:xfrm>
          <a:prstGeom prst="rect">
            <a:avLst/>
          </a:prstGeom>
          <a:ln>
            <a:solidFill>
              <a:srgbClr val="40B3AA"/>
            </a:solidFill>
          </a:ln>
        </p:spPr>
        <p:txBody>
          <a:bodyPr wrap="square" lIns="0" tIns="0" rIns="0" bIns="0" anchor="ctr">
            <a:noAutofit/>
          </a:bodyPr>
          <a:lstStyle/>
          <a:p>
            <a:pPr marL="71755" algn="ctr" defTabSz="1080000">
              <a:spcBef>
                <a:spcPts val="400"/>
              </a:spcBef>
              <a:spcAft>
                <a:spcPts val="400"/>
              </a:spcAft>
              <a:defRPr b="0" i="0"/>
            </a:pPr>
            <a:r>
              <a:rPr lang="it-IT" sz="2000" dirty="0">
                <a:solidFill>
                  <a:srgbClr val="30636E"/>
                </a:solidFill>
                <a:latin typeface="Bahnschrift Light SemiCondensed"/>
                <a:cs typeface="Henderson BCG Sans Light"/>
                <a:sym typeface="+mn-lt"/>
              </a:rPr>
              <a:t>Fornire </a:t>
            </a:r>
            <a:r>
              <a:rPr lang="it-IT" sz="2000" b="1" dirty="0">
                <a:solidFill>
                  <a:srgbClr val="40B3AA"/>
                </a:solidFill>
                <a:latin typeface="Bahnschrift Light SemiCondensed"/>
                <a:cs typeface="Henderson BCG Sans Light"/>
                <a:sym typeface="+mn-lt"/>
              </a:rPr>
              <a:t>lettere di endorsement </a:t>
            </a:r>
            <a:r>
              <a:rPr lang="it-IT" sz="2000" dirty="0">
                <a:solidFill>
                  <a:srgbClr val="30636E"/>
                </a:solidFill>
                <a:latin typeface="Bahnschrift Light SemiCondensed"/>
                <a:cs typeface="Henderson BCG Sans Light"/>
                <a:sym typeface="+mn-lt"/>
              </a:rPr>
              <a:t>del board e "</a:t>
            </a:r>
            <a:r>
              <a:rPr lang="it-IT" sz="2000" i="1" dirty="0">
                <a:solidFill>
                  <a:srgbClr val="30636E"/>
                </a:solidFill>
                <a:latin typeface="Bahnschrift Light SemiCondensed"/>
                <a:cs typeface="Henderson BCG Sans Light"/>
                <a:sym typeface="+mn-lt"/>
              </a:rPr>
              <a:t>due diligence</a:t>
            </a:r>
            <a:r>
              <a:rPr lang="it-IT" sz="2000" dirty="0">
                <a:solidFill>
                  <a:srgbClr val="30636E"/>
                </a:solidFill>
                <a:latin typeface="Bahnschrift Light SemiCondensed"/>
                <a:cs typeface="Henderson BCG Sans Light"/>
                <a:sym typeface="+mn-lt"/>
              </a:rPr>
              <a:t>" di istituti bancari</a:t>
            </a:r>
            <a:endParaRPr lang="it-IT" sz="2000" dirty="0">
              <a:solidFill>
                <a:srgbClr val="30636E"/>
              </a:solidFill>
              <a:latin typeface="Bahnschrift Light SemiCondensed"/>
              <a:cs typeface="Henderson BCG Sans Light"/>
            </a:endParaRPr>
          </a:p>
        </p:txBody>
      </p:sp>
      <p:sp>
        <p:nvSpPr>
          <p:cNvPr id="28" name="Rectangle: Rounded Corners 27">
            <a:extLst>
              <a:ext uri="{FF2B5EF4-FFF2-40B4-BE49-F238E27FC236}">
                <a16:creationId xmlns:a16="http://schemas.microsoft.com/office/drawing/2014/main" id="{15FFF59D-4D75-AD4A-CFC4-B00AF5C28560}"/>
              </a:ext>
            </a:extLst>
          </p:cNvPr>
          <p:cNvSpPr/>
          <p:nvPr/>
        </p:nvSpPr>
        <p:spPr>
          <a:xfrm>
            <a:off x="420966" y="5595809"/>
            <a:ext cx="11429291" cy="596304"/>
          </a:xfrm>
          <a:prstGeom prst="roundRect">
            <a:avLst/>
          </a:prstGeom>
          <a:solidFill>
            <a:srgbClr val="40B3AA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US" sz="2000" b="1" dirty="0" err="1">
                <a:latin typeface="Bahnschrift Light SemiCondensed"/>
              </a:rPr>
              <a:t>Fornire</a:t>
            </a:r>
            <a:r>
              <a:rPr lang="en-US" sz="2000" b="1" dirty="0">
                <a:latin typeface="Bahnschrift Light SemiCondensed"/>
              </a:rPr>
              <a:t> </a:t>
            </a:r>
            <a:r>
              <a:rPr lang="en-US" sz="2000" b="1" dirty="0" err="1">
                <a:latin typeface="Bahnschrift Light SemiCondensed"/>
              </a:rPr>
              <a:t>documentazione</a:t>
            </a:r>
            <a:r>
              <a:rPr lang="en-US" sz="2000" b="1" dirty="0">
                <a:latin typeface="Bahnschrift Light SemiCondensed"/>
              </a:rPr>
              <a:t> </a:t>
            </a:r>
            <a:r>
              <a:rPr lang="en-US" sz="2000" b="1" dirty="0" err="1">
                <a:latin typeface="Bahnschrift Light SemiCondensed"/>
              </a:rPr>
              <a:t>specifica</a:t>
            </a:r>
            <a:r>
              <a:rPr lang="en-US" sz="2000" b="1" dirty="0">
                <a:latin typeface="Bahnschrift Light SemiCondensed"/>
              </a:rPr>
              <a:t> a </a:t>
            </a:r>
            <a:r>
              <a:rPr lang="en-US" sz="2000" b="1" dirty="0" err="1">
                <a:latin typeface="Bahnschrift Light SemiCondensed"/>
              </a:rPr>
              <a:t>supporto</a:t>
            </a:r>
            <a:r>
              <a:rPr lang="en-US" sz="2000" b="1" dirty="0">
                <a:latin typeface="Bahnschrift Light SemiCondensed"/>
              </a:rPr>
              <a:t> di tutte le </a:t>
            </a:r>
            <a:r>
              <a:rPr lang="en-US" sz="2000" b="1" dirty="0" err="1">
                <a:latin typeface="Bahnschrift Light SemiCondensed"/>
              </a:rPr>
              <a:t>ipotesi</a:t>
            </a:r>
            <a:r>
              <a:rPr lang="en-US" sz="2000" b="1" dirty="0">
                <a:latin typeface="Bahnschrift Light SemiCondensed"/>
              </a:rPr>
              <a:t> di </a:t>
            </a:r>
            <a:r>
              <a:rPr lang="en-US" sz="2000" b="1" dirty="0" err="1">
                <a:latin typeface="Bahnschrift Light SemiCondensed"/>
              </a:rPr>
              <a:t>costi</a:t>
            </a:r>
            <a:r>
              <a:rPr lang="en-US" sz="2000" b="1" dirty="0">
                <a:latin typeface="Bahnschrift Light SemiCondensed"/>
              </a:rPr>
              <a:t> e </a:t>
            </a:r>
            <a:r>
              <a:rPr lang="en-US" sz="2000" b="1" dirty="0" err="1">
                <a:latin typeface="Bahnschrift Light SemiCondensed"/>
              </a:rPr>
              <a:t>ricavi</a:t>
            </a:r>
            <a:r>
              <a:rPr lang="en-US" sz="2000" b="1" dirty="0">
                <a:latin typeface="Bahnschrift Light SemiCondensed"/>
              </a:rPr>
              <a:t> del Business Plan (es.  MoU, </a:t>
            </a:r>
            <a:r>
              <a:rPr lang="en-US" sz="2000" b="1" dirty="0" err="1">
                <a:latin typeface="Bahnschrift Light SemiCondensed"/>
              </a:rPr>
              <a:t>LoI</a:t>
            </a:r>
            <a:r>
              <a:rPr lang="en-US" sz="2000" b="1" dirty="0">
                <a:latin typeface="Bahnschrift Light SemiCondensed"/>
              </a:rPr>
              <a:t> per EPC e </a:t>
            </a:r>
            <a:r>
              <a:rPr lang="en-US" sz="2000" b="1" dirty="0" err="1">
                <a:latin typeface="Bahnschrift Light SemiCondensed"/>
              </a:rPr>
              <a:t>Forniture</a:t>
            </a:r>
            <a:r>
              <a:rPr lang="en-US" sz="2000" b="1" dirty="0">
                <a:latin typeface="Bahnschrift Light SemiCondensed"/>
              </a:rPr>
              <a:t> </a:t>
            </a:r>
            <a:r>
              <a:rPr lang="en-US" sz="2000" b="1" dirty="0" err="1">
                <a:latin typeface="Bahnschrift Light SemiCondensed"/>
              </a:rPr>
              <a:t>energetiche</a:t>
            </a:r>
            <a:r>
              <a:rPr lang="en-US" sz="2000" b="1" dirty="0">
                <a:latin typeface="Bahnschrift Light SemiCondensed"/>
              </a:rPr>
              <a:t>, chemicals, T&amp;S)</a:t>
            </a:r>
          </a:p>
        </p:txBody>
      </p:sp>
      <p:sp>
        <p:nvSpPr>
          <p:cNvPr id="3" name="Rectangle 57">
            <a:extLst>
              <a:ext uri="{FF2B5EF4-FFF2-40B4-BE49-F238E27FC236}">
                <a16:creationId xmlns:a16="http://schemas.microsoft.com/office/drawing/2014/main" id="{B9913C73-F1AE-F235-4C94-BD410ADF788A}"/>
              </a:ext>
            </a:extLst>
          </p:cNvPr>
          <p:cNvSpPr/>
          <p:nvPr/>
        </p:nvSpPr>
        <p:spPr>
          <a:xfrm>
            <a:off x="420967" y="1462379"/>
            <a:ext cx="5400000" cy="1008000"/>
          </a:xfrm>
          <a:prstGeom prst="rect">
            <a:avLst/>
          </a:prstGeom>
          <a:ln>
            <a:solidFill>
              <a:srgbClr val="40B3AA"/>
            </a:solidFill>
          </a:ln>
        </p:spPr>
        <p:txBody>
          <a:bodyPr wrap="square" lIns="0" tIns="0" rIns="0" bIns="0" anchor="ctr">
            <a:noAutofit/>
          </a:bodyPr>
          <a:lstStyle/>
          <a:p>
            <a:pPr marL="71755" algn="ctr" defTabSz="1080000">
              <a:spcBef>
                <a:spcPts val="400"/>
              </a:spcBef>
              <a:spcAft>
                <a:spcPts val="400"/>
              </a:spcAft>
              <a:defRPr b="0" i="0"/>
            </a:pPr>
            <a:r>
              <a:rPr lang="it-IT" sz="2000" dirty="0">
                <a:solidFill>
                  <a:srgbClr val="30636E"/>
                </a:solidFill>
                <a:latin typeface="Bahnschrift Light SemiCondensed"/>
                <a:cs typeface="Henderson BCG Sans Light"/>
                <a:sym typeface="+mn-lt"/>
              </a:rPr>
              <a:t>Ingaggiare gli stakeholders «chiave» della </a:t>
            </a:r>
            <a:r>
              <a:rPr lang="it-IT" sz="2000" i="1" dirty="0" err="1">
                <a:solidFill>
                  <a:srgbClr val="30636E"/>
                </a:solidFill>
                <a:latin typeface="Bahnschrift Light SemiCondensed"/>
                <a:cs typeface="Henderson BCG Sans Light"/>
                <a:sym typeface="+mn-lt"/>
              </a:rPr>
              <a:t>value</a:t>
            </a:r>
            <a:r>
              <a:rPr lang="it-IT" sz="2000" i="1" dirty="0">
                <a:solidFill>
                  <a:srgbClr val="30636E"/>
                </a:solidFill>
                <a:latin typeface="Bahnschrift Light SemiCondensed"/>
                <a:cs typeface="Henderson BCG Sans Light"/>
                <a:sym typeface="+mn-lt"/>
              </a:rPr>
              <a:t> chain </a:t>
            </a:r>
            <a:r>
              <a:rPr lang="it-IT" sz="2000" dirty="0">
                <a:solidFill>
                  <a:srgbClr val="30636E"/>
                </a:solidFill>
                <a:latin typeface="Bahnschrift Light SemiCondensed"/>
                <a:cs typeface="Henderson BCG Sans Light"/>
                <a:sym typeface="+mn-lt"/>
              </a:rPr>
              <a:t>del progetto</a:t>
            </a:r>
            <a:endParaRPr lang="en-US" sz="2000" dirty="0">
              <a:latin typeface="Bahnschrift Light SemiCondensed"/>
            </a:endParaRPr>
          </a:p>
        </p:txBody>
      </p:sp>
      <p:sp>
        <p:nvSpPr>
          <p:cNvPr id="8" name="Rectangle 57">
            <a:extLst>
              <a:ext uri="{FF2B5EF4-FFF2-40B4-BE49-F238E27FC236}">
                <a16:creationId xmlns:a16="http://schemas.microsoft.com/office/drawing/2014/main" id="{FCF4AEAB-65D1-10B2-6BC8-975BA7ECDDA6}"/>
              </a:ext>
            </a:extLst>
          </p:cNvPr>
          <p:cNvSpPr/>
          <p:nvPr/>
        </p:nvSpPr>
        <p:spPr>
          <a:xfrm>
            <a:off x="6450258" y="1462379"/>
            <a:ext cx="5400000" cy="1008000"/>
          </a:xfrm>
          <a:prstGeom prst="rect">
            <a:avLst/>
          </a:prstGeom>
          <a:ln>
            <a:solidFill>
              <a:srgbClr val="40B3AA"/>
            </a:solidFill>
          </a:ln>
        </p:spPr>
        <p:txBody>
          <a:bodyPr wrap="square" lIns="0" tIns="0" rIns="0" bIns="0" anchor="ctr">
            <a:noAutofit/>
          </a:bodyPr>
          <a:lstStyle/>
          <a:p>
            <a:pPr marL="71755" algn="ctr" defTabSz="1080000">
              <a:spcBef>
                <a:spcPts val="400"/>
              </a:spcBef>
              <a:spcAft>
                <a:spcPts val="400"/>
              </a:spcAft>
              <a:defRPr b="0" i="0"/>
            </a:pPr>
            <a:r>
              <a:rPr lang="it-IT" sz="2000" b="1" dirty="0">
                <a:solidFill>
                  <a:srgbClr val="40B3AA"/>
                </a:solidFill>
                <a:latin typeface="Bahnschrift Light SemiCondensed"/>
                <a:cs typeface="Henderson BCG Sans Light"/>
                <a:sym typeface="+mn-lt"/>
              </a:rPr>
              <a:t>NDA e Lettere di Supporto </a:t>
            </a:r>
            <a:r>
              <a:rPr lang="it-IT" sz="2000" dirty="0">
                <a:solidFill>
                  <a:srgbClr val="30636E"/>
                </a:solidFill>
                <a:latin typeface="Bahnschrift Light SemiCondensed"/>
                <a:sym typeface="+mn-lt"/>
              </a:rPr>
              <a:t>per il T&amp;S e per la fornitura delle utilities e dei </a:t>
            </a:r>
            <a:r>
              <a:rPr lang="it-IT" sz="2000" dirty="0" err="1">
                <a:solidFill>
                  <a:srgbClr val="30636E"/>
                </a:solidFill>
                <a:latin typeface="Bahnschrift Light SemiCondensed"/>
                <a:sym typeface="+mn-lt"/>
              </a:rPr>
              <a:t>chemicals</a:t>
            </a:r>
            <a:r>
              <a:rPr lang="it-IT" sz="2000" dirty="0">
                <a:solidFill>
                  <a:srgbClr val="30636E"/>
                </a:solidFill>
                <a:latin typeface="Bahnschrift Light SemiCondensed"/>
                <a:sym typeface="+mn-lt"/>
              </a:rPr>
              <a:t>.</a:t>
            </a:r>
            <a:endParaRPr lang="en-US" sz="2000" dirty="0">
              <a:solidFill>
                <a:srgbClr val="30636E"/>
              </a:solidFill>
              <a:latin typeface="Bahnschrift Light SemiCondensed"/>
            </a:endParaRPr>
          </a:p>
        </p:txBody>
      </p:sp>
      <p:sp>
        <p:nvSpPr>
          <p:cNvPr id="4" name="Rectangle 57">
            <a:extLst>
              <a:ext uri="{FF2B5EF4-FFF2-40B4-BE49-F238E27FC236}">
                <a16:creationId xmlns:a16="http://schemas.microsoft.com/office/drawing/2014/main" id="{EE3872CC-5C6A-DB33-5D20-00B5E7AAE475}"/>
              </a:ext>
            </a:extLst>
          </p:cNvPr>
          <p:cNvSpPr/>
          <p:nvPr/>
        </p:nvSpPr>
        <p:spPr>
          <a:xfrm>
            <a:off x="420967" y="3845445"/>
            <a:ext cx="5400000" cy="1576500"/>
          </a:xfrm>
          <a:prstGeom prst="rect">
            <a:avLst/>
          </a:prstGeom>
          <a:ln>
            <a:solidFill>
              <a:srgbClr val="40B3AA"/>
            </a:solidFill>
          </a:ln>
        </p:spPr>
        <p:txBody>
          <a:bodyPr wrap="square" lIns="0" tIns="0" rIns="0" bIns="0" anchor="ctr">
            <a:noAutofit/>
          </a:bodyPr>
          <a:lstStyle/>
          <a:p>
            <a:pPr marL="71755" algn="ctr" defTabSz="1080000">
              <a:spcBef>
                <a:spcPts val="400"/>
              </a:spcBef>
              <a:spcAft>
                <a:spcPts val="400"/>
              </a:spcAft>
              <a:defRPr b="0" i="0"/>
            </a:pPr>
            <a:r>
              <a:rPr lang="it-IT" sz="2000" dirty="0">
                <a:solidFill>
                  <a:srgbClr val="30636E"/>
                </a:solidFill>
                <a:latin typeface="Bahnschrift Light SemiCondensed"/>
                <a:cs typeface="Henderson BCG Sans Light"/>
                <a:sym typeface="+mn-lt"/>
              </a:rPr>
              <a:t>Mitigazione dei rischi</a:t>
            </a:r>
            <a:endParaRPr lang="en-US" sz="2000" dirty="0">
              <a:latin typeface="Bahnschrift Light SemiCondensed"/>
            </a:endParaRPr>
          </a:p>
        </p:txBody>
      </p:sp>
      <p:sp>
        <p:nvSpPr>
          <p:cNvPr id="5" name="Rectangle 57">
            <a:extLst>
              <a:ext uri="{FF2B5EF4-FFF2-40B4-BE49-F238E27FC236}">
                <a16:creationId xmlns:a16="http://schemas.microsoft.com/office/drawing/2014/main" id="{2AB1309B-F4A0-9A0C-CC04-E965AFD58840}"/>
              </a:ext>
            </a:extLst>
          </p:cNvPr>
          <p:cNvSpPr/>
          <p:nvPr/>
        </p:nvSpPr>
        <p:spPr>
          <a:xfrm>
            <a:off x="6450258" y="3845445"/>
            <a:ext cx="5400000" cy="1576500"/>
          </a:xfrm>
          <a:prstGeom prst="rect">
            <a:avLst/>
          </a:prstGeom>
          <a:ln>
            <a:solidFill>
              <a:srgbClr val="40B3AA"/>
            </a:solidFill>
          </a:ln>
        </p:spPr>
        <p:txBody>
          <a:bodyPr wrap="square" lIns="0" tIns="0" rIns="0" bIns="0" anchor="ctr">
            <a:noAutofit/>
          </a:bodyPr>
          <a:lstStyle/>
          <a:p>
            <a:pPr marL="71755" algn="ctr" defTabSz="1080000">
              <a:defRPr b="0" i="0"/>
            </a:pPr>
            <a:r>
              <a:rPr lang="it-IT" sz="2000" dirty="0">
                <a:solidFill>
                  <a:srgbClr val="30636E"/>
                </a:solidFill>
                <a:latin typeface="Bahnschrift Light SemiCondensed"/>
                <a:cs typeface="Henderson BCG Sans Light"/>
                <a:sym typeface="+mn-lt"/>
              </a:rPr>
              <a:t>Sviluppare </a:t>
            </a:r>
            <a:r>
              <a:rPr lang="it-IT" sz="2000" b="1" dirty="0">
                <a:solidFill>
                  <a:srgbClr val="40B3AA"/>
                </a:solidFill>
                <a:latin typeface="Bahnschrift Light SemiCondensed"/>
                <a:cs typeface="Henderson BCG Sans Light"/>
                <a:sym typeface="+mn-lt"/>
              </a:rPr>
              <a:t>scenari alternativi </a:t>
            </a:r>
            <a:r>
              <a:rPr lang="it-IT" sz="2000" dirty="0">
                <a:solidFill>
                  <a:srgbClr val="30636E"/>
                </a:solidFill>
                <a:latin typeface="Bahnschrift Light SemiCondensed"/>
                <a:cs typeface="Henderson BCG Sans Light"/>
                <a:sym typeface="+mn-lt"/>
              </a:rPr>
              <a:t>che possano garantire la sostenibilità del progetto </a:t>
            </a:r>
          </a:p>
          <a:p>
            <a:pPr marL="71755" algn="ctr" defTabSz="1080000">
              <a:defRPr b="0" i="0"/>
            </a:pPr>
            <a:r>
              <a:rPr lang="it-IT" sz="2000" dirty="0">
                <a:solidFill>
                  <a:srgbClr val="30636E"/>
                </a:solidFill>
                <a:latin typeface="Bahnschrift Light SemiCondensed"/>
                <a:cs typeface="Henderson BCG Sans Light"/>
                <a:sym typeface="+mn-lt"/>
              </a:rPr>
              <a:t>(es. valorizzazione carbon </a:t>
            </a:r>
            <a:r>
              <a:rPr lang="it-IT" sz="2000" dirty="0" err="1">
                <a:solidFill>
                  <a:srgbClr val="30636E"/>
                </a:solidFill>
                <a:latin typeface="Bahnschrift Light SemiCondensed"/>
                <a:cs typeface="Henderson BCG Sans Light"/>
                <a:sym typeface="+mn-lt"/>
              </a:rPr>
              <a:t>removal</a:t>
            </a:r>
            <a:r>
              <a:rPr lang="it-IT" sz="2000" dirty="0">
                <a:solidFill>
                  <a:srgbClr val="30636E"/>
                </a:solidFill>
                <a:latin typeface="Bahnschrift Light SemiCondensed"/>
                <a:cs typeface="Henderson BCG Sans Light"/>
                <a:sym typeface="+mn-lt"/>
              </a:rPr>
              <a:t> per mitigare l’incertezza dei tempi di inclusione dei </a:t>
            </a:r>
            <a:r>
              <a:rPr lang="it-IT" sz="2000" dirty="0" err="1">
                <a:solidFill>
                  <a:srgbClr val="30636E"/>
                </a:solidFill>
                <a:latin typeface="Bahnschrift Light SemiCondensed"/>
                <a:cs typeface="Henderson BCG Sans Light"/>
                <a:sym typeface="+mn-lt"/>
              </a:rPr>
              <a:t>WtE</a:t>
            </a:r>
            <a:r>
              <a:rPr lang="it-IT" sz="2000" dirty="0">
                <a:solidFill>
                  <a:srgbClr val="30636E"/>
                </a:solidFill>
                <a:latin typeface="Bahnschrift Light SemiCondensed"/>
                <a:cs typeface="Henderson BCG Sans Light"/>
                <a:sym typeface="+mn-lt"/>
              </a:rPr>
              <a:t> nel sistema EU ETS)</a:t>
            </a:r>
            <a:endParaRPr lang="en-US" sz="2000" dirty="0">
              <a:solidFill>
                <a:srgbClr val="000000"/>
              </a:solidFill>
            </a:endParaRPr>
          </a:p>
        </p:txBody>
      </p:sp>
      <p:cxnSp>
        <p:nvCxnSpPr>
          <p:cNvPr id="41" name="Straight Connector 21">
            <a:extLst>
              <a:ext uri="{FF2B5EF4-FFF2-40B4-BE49-F238E27FC236}">
                <a16:creationId xmlns:a16="http://schemas.microsoft.com/office/drawing/2014/main" id="{5D4B54F9-8424-2EBC-6621-C7F032B9FEE4}"/>
              </a:ext>
            </a:extLst>
          </p:cNvPr>
          <p:cNvCxnSpPr>
            <a:cxnSpLocks/>
          </p:cNvCxnSpPr>
          <p:nvPr/>
        </p:nvCxnSpPr>
        <p:spPr>
          <a:xfrm>
            <a:off x="6135613" y="1440193"/>
            <a:ext cx="0" cy="1008000"/>
          </a:xfrm>
          <a:prstGeom prst="line">
            <a:avLst/>
          </a:prstGeom>
          <a:ln w="9525" cap="rnd">
            <a:solidFill>
              <a:srgbClr val="9A9A9A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2" name="Group 22">
            <a:extLst>
              <a:ext uri="{FF2B5EF4-FFF2-40B4-BE49-F238E27FC236}">
                <a16:creationId xmlns:a16="http://schemas.microsoft.com/office/drawing/2014/main" id="{52E43C7B-D406-3C6B-25F8-C99831638D0E}"/>
              </a:ext>
            </a:extLst>
          </p:cNvPr>
          <p:cNvGrpSpPr/>
          <p:nvPr/>
        </p:nvGrpSpPr>
        <p:grpSpPr>
          <a:xfrm>
            <a:off x="5953364" y="1751251"/>
            <a:ext cx="364496" cy="374956"/>
            <a:chOff x="5937564" y="2159679"/>
            <a:chExt cx="306171" cy="306910"/>
          </a:xfrm>
        </p:grpSpPr>
        <p:sp>
          <p:nvSpPr>
            <p:cNvPr id="43" name="Freeform 94">
              <a:extLst>
                <a:ext uri="{FF2B5EF4-FFF2-40B4-BE49-F238E27FC236}">
                  <a16:creationId xmlns:a16="http://schemas.microsoft.com/office/drawing/2014/main" id="{C02F9398-A1BC-FCFA-ECC6-2BA54C20FDE1}"/>
                </a:ext>
              </a:extLst>
            </p:cNvPr>
            <p:cNvSpPr>
              <a:spLocks/>
            </p:cNvSpPr>
            <p:nvPr/>
          </p:nvSpPr>
          <p:spPr bwMode="gray">
            <a:xfrm>
              <a:off x="5937564" y="2159679"/>
              <a:ext cx="306171" cy="306910"/>
            </a:xfrm>
            <a:custGeom>
              <a:avLst/>
              <a:gdLst>
                <a:gd name="T0" fmla="*/ 0 w 1052"/>
                <a:gd name="T1" fmla="*/ 526 h 1052"/>
                <a:gd name="T2" fmla="*/ 0 w 1052"/>
                <a:gd name="T3" fmla="*/ 526 h 1052"/>
                <a:gd name="T4" fmla="*/ 526 w 1052"/>
                <a:gd name="T5" fmla="*/ 0 h 1052"/>
                <a:gd name="T6" fmla="*/ 1052 w 1052"/>
                <a:gd name="T7" fmla="*/ 526 h 1052"/>
                <a:gd name="T8" fmla="*/ 1052 w 1052"/>
                <a:gd name="T9" fmla="*/ 526 h 1052"/>
                <a:gd name="T10" fmla="*/ 526 w 1052"/>
                <a:gd name="T11" fmla="*/ 1052 h 1052"/>
                <a:gd name="T12" fmla="*/ 526 w 1052"/>
                <a:gd name="T13" fmla="*/ 1052 h 1052"/>
                <a:gd name="T14" fmla="*/ 0 w 1052"/>
                <a:gd name="T15" fmla="*/ 526 h 10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52" h="1052">
                  <a:moveTo>
                    <a:pt x="0" y="526"/>
                  </a:moveTo>
                  <a:cubicBezTo>
                    <a:pt x="0" y="526"/>
                    <a:pt x="0" y="526"/>
                    <a:pt x="0" y="526"/>
                  </a:cubicBezTo>
                  <a:cubicBezTo>
                    <a:pt x="0" y="236"/>
                    <a:pt x="236" y="0"/>
                    <a:pt x="526" y="0"/>
                  </a:cubicBezTo>
                  <a:cubicBezTo>
                    <a:pt x="817" y="0"/>
                    <a:pt x="1052" y="236"/>
                    <a:pt x="1052" y="526"/>
                  </a:cubicBezTo>
                  <a:cubicBezTo>
                    <a:pt x="1052" y="526"/>
                    <a:pt x="1052" y="526"/>
                    <a:pt x="1052" y="526"/>
                  </a:cubicBezTo>
                  <a:cubicBezTo>
                    <a:pt x="1052" y="817"/>
                    <a:pt x="817" y="1052"/>
                    <a:pt x="526" y="1052"/>
                  </a:cubicBezTo>
                  <a:cubicBezTo>
                    <a:pt x="526" y="1052"/>
                    <a:pt x="526" y="1052"/>
                    <a:pt x="526" y="1052"/>
                  </a:cubicBezTo>
                  <a:cubicBezTo>
                    <a:pt x="236" y="1052"/>
                    <a:pt x="0" y="817"/>
                    <a:pt x="0" y="526"/>
                  </a:cubicBezTo>
                  <a:close/>
                </a:path>
              </a:pathLst>
            </a:custGeom>
            <a:solidFill>
              <a:schemeClr val="tx2"/>
            </a:solidFill>
            <a:ln>
              <a:solidFill>
                <a:schemeClr val="tx2"/>
              </a:solidFill>
            </a:ln>
          </p:spPr>
          <p:txBody>
            <a:bodyPr vert="horz" wrap="square" lIns="88641" tIns="44321" rIns="88641" bIns="44321" numCol="1" anchor="t" anchorCtr="0" compatLnSpc="1">
              <a:prstTxWarp prst="textNoShape">
                <a:avLst/>
              </a:prstTxWarp>
            </a:bodyPr>
            <a:lstStyle/>
            <a:p>
              <a:endParaRPr lang="it-IT" dirty="0">
                <a:solidFill>
                  <a:srgbClr val="6E6F73"/>
                </a:solidFill>
                <a:latin typeface="+mj-lt"/>
              </a:endParaRPr>
            </a:p>
          </p:txBody>
        </p:sp>
        <p:sp>
          <p:nvSpPr>
            <p:cNvPr id="44" name="Freeform 95">
              <a:extLst>
                <a:ext uri="{FF2B5EF4-FFF2-40B4-BE49-F238E27FC236}">
                  <a16:creationId xmlns:a16="http://schemas.microsoft.com/office/drawing/2014/main" id="{246B858A-5F79-31AF-875A-EEEC5B6D0291}"/>
                </a:ext>
              </a:extLst>
            </p:cNvPr>
            <p:cNvSpPr>
              <a:spLocks/>
            </p:cNvSpPr>
            <p:nvPr/>
          </p:nvSpPr>
          <p:spPr bwMode="gray">
            <a:xfrm>
              <a:off x="6048661" y="2209971"/>
              <a:ext cx="120251" cy="224731"/>
            </a:xfrm>
            <a:custGeom>
              <a:avLst/>
              <a:gdLst>
                <a:gd name="T0" fmla="*/ 66 w 976"/>
                <a:gd name="T1" fmla="*/ 1824 h 1824"/>
                <a:gd name="T2" fmla="*/ 0 w 976"/>
                <a:gd name="T3" fmla="*/ 1758 h 1824"/>
                <a:gd name="T4" fmla="*/ 843 w 976"/>
                <a:gd name="T5" fmla="*/ 912 h 1824"/>
                <a:gd name="T6" fmla="*/ 0 w 976"/>
                <a:gd name="T7" fmla="*/ 66 h 1824"/>
                <a:gd name="T8" fmla="*/ 66 w 976"/>
                <a:gd name="T9" fmla="*/ 0 h 1824"/>
                <a:gd name="T10" fmla="*/ 976 w 976"/>
                <a:gd name="T11" fmla="*/ 912 h 1824"/>
                <a:gd name="T12" fmla="*/ 66 w 976"/>
                <a:gd name="T13" fmla="*/ 1824 h 18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76" h="1824">
                  <a:moveTo>
                    <a:pt x="66" y="1824"/>
                  </a:moveTo>
                  <a:lnTo>
                    <a:pt x="0" y="1758"/>
                  </a:lnTo>
                  <a:lnTo>
                    <a:pt x="843" y="912"/>
                  </a:lnTo>
                  <a:lnTo>
                    <a:pt x="0" y="66"/>
                  </a:lnTo>
                  <a:lnTo>
                    <a:pt x="66" y="0"/>
                  </a:lnTo>
                  <a:lnTo>
                    <a:pt x="976" y="912"/>
                  </a:lnTo>
                  <a:lnTo>
                    <a:pt x="66" y="182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8641" tIns="44321" rIns="88641" bIns="44321" numCol="1" anchor="t" anchorCtr="0" compatLnSpc="1">
              <a:prstTxWarp prst="textNoShape">
                <a:avLst/>
              </a:prstTxWarp>
            </a:bodyPr>
            <a:lstStyle/>
            <a:p>
              <a:endParaRPr lang="it-IT">
                <a:solidFill>
                  <a:srgbClr val="6E6F73"/>
                </a:solidFill>
                <a:latin typeface="+mj-lt"/>
              </a:endParaRPr>
            </a:p>
          </p:txBody>
        </p:sp>
      </p:grpSp>
      <p:cxnSp>
        <p:nvCxnSpPr>
          <p:cNvPr id="46" name="Straight Connector 21">
            <a:extLst>
              <a:ext uri="{FF2B5EF4-FFF2-40B4-BE49-F238E27FC236}">
                <a16:creationId xmlns:a16="http://schemas.microsoft.com/office/drawing/2014/main" id="{AC38B3E9-37DD-6964-EE33-D998E312C983}"/>
              </a:ext>
            </a:extLst>
          </p:cNvPr>
          <p:cNvCxnSpPr>
            <a:cxnSpLocks/>
          </p:cNvCxnSpPr>
          <p:nvPr/>
        </p:nvCxnSpPr>
        <p:spPr>
          <a:xfrm>
            <a:off x="6135682" y="2686407"/>
            <a:ext cx="0" cy="1008000"/>
          </a:xfrm>
          <a:prstGeom prst="line">
            <a:avLst/>
          </a:prstGeom>
          <a:ln w="9525" cap="rnd">
            <a:solidFill>
              <a:srgbClr val="9A9A9A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7" name="Group 22">
            <a:extLst>
              <a:ext uri="{FF2B5EF4-FFF2-40B4-BE49-F238E27FC236}">
                <a16:creationId xmlns:a16="http://schemas.microsoft.com/office/drawing/2014/main" id="{9331A5D1-BE19-3E78-B51A-237DD8AFA577}"/>
              </a:ext>
            </a:extLst>
          </p:cNvPr>
          <p:cNvGrpSpPr/>
          <p:nvPr/>
        </p:nvGrpSpPr>
        <p:grpSpPr>
          <a:xfrm>
            <a:off x="5953433" y="3007298"/>
            <a:ext cx="364496" cy="374956"/>
            <a:chOff x="5937564" y="2159679"/>
            <a:chExt cx="306171" cy="306910"/>
          </a:xfrm>
        </p:grpSpPr>
        <p:sp>
          <p:nvSpPr>
            <p:cNvPr id="48" name="Freeform 94">
              <a:extLst>
                <a:ext uri="{FF2B5EF4-FFF2-40B4-BE49-F238E27FC236}">
                  <a16:creationId xmlns:a16="http://schemas.microsoft.com/office/drawing/2014/main" id="{AF2DC676-D187-37F5-155A-339E70BF6FC2}"/>
                </a:ext>
              </a:extLst>
            </p:cNvPr>
            <p:cNvSpPr>
              <a:spLocks/>
            </p:cNvSpPr>
            <p:nvPr/>
          </p:nvSpPr>
          <p:spPr bwMode="gray">
            <a:xfrm>
              <a:off x="5937564" y="2159679"/>
              <a:ext cx="306171" cy="306910"/>
            </a:xfrm>
            <a:custGeom>
              <a:avLst/>
              <a:gdLst>
                <a:gd name="T0" fmla="*/ 0 w 1052"/>
                <a:gd name="T1" fmla="*/ 526 h 1052"/>
                <a:gd name="T2" fmla="*/ 0 w 1052"/>
                <a:gd name="T3" fmla="*/ 526 h 1052"/>
                <a:gd name="T4" fmla="*/ 526 w 1052"/>
                <a:gd name="T5" fmla="*/ 0 h 1052"/>
                <a:gd name="T6" fmla="*/ 1052 w 1052"/>
                <a:gd name="T7" fmla="*/ 526 h 1052"/>
                <a:gd name="T8" fmla="*/ 1052 w 1052"/>
                <a:gd name="T9" fmla="*/ 526 h 1052"/>
                <a:gd name="T10" fmla="*/ 526 w 1052"/>
                <a:gd name="T11" fmla="*/ 1052 h 1052"/>
                <a:gd name="T12" fmla="*/ 526 w 1052"/>
                <a:gd name="T13" fmla="*/ 1052 h 1052"/>
                <a:gd name="T14" fmla="*/ 0 w 1052"/>
                <a:gd name="T15" fmla="*/ 526 h 10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52" h="1052">
                  <a:moveTo>
                    <a:pt x="0" y="526"/>
                  </a:moveTo>
                  <a:cubicBezTo>
                    <a:pt x="0" y="526"/>
                    <a:pt x="0" y="526"/>
                    <a:pt x="0" y="526"/>
                  </a:cubicBezTo>
                  <a:cubicBezTo>
                    <a:pt x="0" y="236"/>
                    <a:pt x="236" y="0"/>
                    <a:pt x="526" y="0"/>
                  </a:cubicBezTo>
                  <a:cubicBezTo>
                    <a:pt x="817" y="0"/>
                    <a:pt x="1052" y="236"/>
                    <a:pt x="1052" y="526"/>
                  </a:cubicBezTo>
                  <a:cubicBezTo>
                    <a:pt x="1052" y="526"/>
                    <a:pt x="1052" y="526"/>
                    <a:pt x="1052" y="526"/>
                  </a:cubicBezTo>
                  <a:cubicBezTo>
                    <a:pt x="1052" y="817"/>
                    <a:pt x="817" y="1052"/>
                    <a:pt x="526" y="1052"/>
                  </a:cubicBezTo>
                  <a:cubicBezTo>
                    <a:pt x="526" y="1052"/>
                    <a:pt x="526" y="1052"/>
                    <a:pt x="526" y="1052"/>
                  </a:cubicBezTo>
                  <a:cubicBezTo>
                    <a:pt x="236" y="1052"/>
                    <a:pt x="0" y="817"/>
                    <a:pt x="0" y="526"/>
                  </a:cubicBezTo>
                  <a:close/>
                </a:path>
              </a:pathLst>
            </a:custGeom>
            <a:solidFill>
              <a:schemeClr val="tx2"/>
            </a:solidFill>
            <a:ln>
              <a:solidFill>
                <a:schemeClr val="tx2"/>
              </a:solidFill>
            </a:ln>
          </p:spPr>
          <p:txBody>
            <a:bodyPr vert="horz" wrap="square" lIns="88641" tIns="44321" rIns="88641" bIns="44321" numCol="1" anchor="t" anchorCtr="0" compatLnSpc="1">
              <a:prstTxWarp prst="textNoShape">
                <a:avLst/>
              </a:prstTxWarp>
            </a:bodyPr>
            <a:lstStyle/>
            <a:p>
              <a:endParaRPr lang="it-IT" dirty="0">
                <a:solidFill>
                  <a:srgbClr val="6E6F73"/>
                </a:solidFill>
                <a:latin typeface="+mj-lt"/>
              </a:endParaRPr>
            </a:p>
          </p:txBody>
        </p:sp>
        <p:sp>
          <p:nvSpPr>
            <p:cNvPr id="49" name="Freeform 95">
              <a:extLst>
                <a:ext uri="{FF2B5EF4-FFF2-40B4-BE49-F238E27FC236}">
                  <a16:creationId xmlns:a16="http://schemas.microsoft.com/office/drawing/2014/main" id="{2F6725FD-6839-906D-F28C-4ACEA1FA87D5}"/>
                </a:ext>
              </a:extLst>
            </p:cNvPr>
            <p:cNvSpPr>
              <a:spLocks/>
            </p:cNvSpPr>
            <p:nvPr/>
          </p:nvSpPr>
          <p:spPr bwMode="gray">
            <a:xfrm>
              <a:off x="6048661" y="2209971"/>
              <a:ext cx="120251" cy="224731"/>
            </a:xfrm>
            <a:custGeom>
              <a:avLst/>
              <a:gdLst>
                <a:gd name="T0" fmla="*/ 66 w 976"/>
                <a:gd name="T1" fmla="*/ 1824 h 1824"/>
                <a:gd name="T2" fmla="*/ 0 w 976"/>
                <a:gd name="T3" fmla="*/ 1758 h 1824"/>
                <a:gd name="T4" fmla="*/ 843 w 976"/>
                <a:gd name="T5" fmla="*/ 912 h 1824"/>
                <a:gd name="T6" fmla="*/ 0 w 976"/>
                <a:gd name="T7" fmla="*/ 66 h 1824"/>
                <a:gd name="T8" fmla="*/ 66 w 976"/>
                <a:gd name="T9" fmla="*/ 0 h 1824"/>
                <a:gd name="T10" fmla="*/ 976 w 976"/>
                <a:gd name="T11" fmla="*/ 912 h 1824"/>
                <a:gd name="T12" fmla="*/ 66 w 976"/>
                <a:gd name="T13" fmla="*/ 1824 h 18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76" h="1824">
                  <a:moveTo>
                    <a:pt x="66" y="1824"/>
                  </a:moveTo>
                  <a:lnTo>
                    <a:pt x="0" y="1758"/>
                  </a:lnTo>
                  <a:lnTo>
                    <a:pt x="843" y="912"/>
                  </a:lnTo>
                  <a:lnTo>
                    <a:pt x="0" y="66"/>
                  </a:lnTo>
                  <a:lnTo>
                    <a:pt x="66" y="0"/>
                  </a:lnTo>
                  <a:lnTo>
                    <a:pt x="976" y="912"/>
                  </a:lnTo>
                  <a:lnTo>
                    <a:pt x="66" y="182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8641" tIns="44321" rIns="88641" bIns="44321" numCol="1" anchor="t" anchorCtr="0" compatLnSpc="1">
              <a:prstTxWarp prst="textNoShape">
                <a:avLst/>
              </a:prstTxWarp>
            </a:bodyPr>
            <a:lstStyle/>
            <a:p>
              <a:endParaRPr lang="it-IT">
                <a:solidFill>
                  <a:srgbClr val="6E6F73"/>
                </a:solidFill>
                <a:latin typeface="+mj-lt"/>
              </a:endParaRPr>
            </a:p>
          </p:txBody>
        </p:sp>
      </p:grpSp>
      <p:grpSp>
        <p:nvGrpSpPr>
          <p:cNvPr id="50" name="Group 20">
            <a:extLst>
              <a:ext uri="{FF2B5EF4-FFF2-40B4-BE49-F238E27FC236}">
                <a16:creationId xmlns:a16="http://schemas.microsoft.com/office/drawing/2014/main" id="{3454DA94-A03C-DA62-C7AE-0F033FF8D907}"/>
              </a:ext>
            </a:extLst>
          </p:cNvPr>
          <p:cNvGrpSpPr/>
          <p:nvPr/>
        </p:nvGrpSpPr>
        <p:grpSpPr>
          <a:xfrm>
            <a:off x="6085645" y="3873629"/>
            <a:ext cx="143159" cy="1499156"/>
            <a:chOff x="6054011" y="2070817"/>
            <a:chExt cx="120251" cy="825070"/>
          </a:xfrm>
        </p:grpSpPr>
        <p:cxnSp>
          <p:nvCxnSpPr>
            <p:cNvPr id="51" name="Straight Connector 21">
              <a:extLst>
                <a:ext uri="{FF2B5EF4-FFF2-40B4-BE49-F238E27FC236}">
                  <a16:creationId xmlns:a16="http://schemas.microsoft.com/office/drawing/2014/main" id="{83A6D358-62FF-7E62-1378-44D184F34955}"/>
                </a:ext>
              </a:extLst>
            </p:cNvPr>
            <p:cNvCxnSpPr>
              <a:cxnSpLocks/>
            </p:cNvCxnSpPr>
            <p:nvPr/>
          </p:nvCxnSpPr>
          <p:spPr>
            <a:xfrm>
              <a:off x="6096000" y="2070817"/>
              <a:ext cx="0" cy="825070"/>
            </a:xfrm>
            <a:prstGeom prst="line">
              <a:avLst/>
            </a:prstGeom>
            <a:ln w="9525" cap="rnd">
              <a:solidFill>
                <a:srgbClr val="9A9A9A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5" name="Freeform 95">
              <a:extLst>
                <a:ext uri="{FF2B5EF4-FFF2-40B4-BE49-F238E27FC236}">
                  <a16:creationId xmlns:a16="http://schemas.microsoft.com/office/drawing/2014/main" id="{0A8F9924-7E39-3879-CAAF-3B8FB75AC709}"/>
                </a:ext>
              </a:extLst>
            </p:cNvPr>
            <p:cNvSpPr>
              <a:spLocks/>
            </p:cNvSpPr>
            <p:nvPr/>
          </p:nvSpPr>
          <p:spPr bwMode="gray">
            <a:xfrm>
              <a:off x="6054011" y="2379814"/>
              <a:ext cx="120251" cy="188442"/>
            </a:xfrm>
            <a:custGeom>
              <a:avLst/>
              <a:gdLst>
                <a:gd name="T0" fmla="*/ 66 w 976"/>
                <a:gd name="T1" fmla="*/ 1824 h 1824"/>
                <a:gd name="T2" fmla="*/ 0 w 976"/>
                <a:gd name="T3" fmla="*/ 1758 h 1824"/>
                <a:gd name="T4" fmla="*/ 843 w 976"/>
                <a:gd name="T5" fmla="*/ 912 h 1824"/>
                <a:gd name="T6" fmla="*/ 0 w 976"/>
                <a:gd name="T7" fmla="*/ 66 h 1824"/>
                <a:gd name="T8" fmla="*/ 66 w 976"/>
                <a:gd name="T9" fmla="*/ 0 h 1824"/>
                <a:gd name="T10" fmla="*/ 976 w 976"/>
                <a:gd name="T11" fmla="*/ 912 h 1824"/>
                <a:gd name="T12" fmla="*/ 66 w 976"/>
                <a:gd name="T13" fmla="*/ 1824 h 18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76" h="1824">
                  <a:moveTo>
                    <a:pt x="66" y="1824"/>
                  </a:moveTo>
                  <a:lnTo>
                    <a:pt x="0" y="1758"/>
                  </a:lnTo>
                  <a:lnTo>
                    <a:pt x="843" y="912"/>
                  </a:lnTo>
                  <a:lnTo>
                    <a:pt x="0" y="66"/>
                  </a:lnTo>
                  <a:lnTo>
                    <a:pt x="66" y="0"/>
                  </a:lnTo>
                  <a:lnTo>
                    <a:pt x="976" y="912"/>
                  </a:lnTo>
                  <a:lnTo>
                    <a:pt x="66" y="182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8641" tIns="44321" rIns="88641" bIns="44321" numCol="1" anchor="t" anchorCtr="0" compatLnSpc="1">
              <a:prstTxWarp prst="textNoShape">
                <a:avLst/>
              </a:prstTxWarp>
            </a:bodyPr>
            <a:lstStyle/>
            <a:p>
              <a:endParaRPr lang="it-IT">
                <a:solidFill>
                  <a:srgbClr val="6E6F73"/>
                </a:solidFill>
                <a:latin typeface="+mj-lt"/>
              </a:endParaRPr>
            </a:p>
          </p:txBody>
        </p:sp>
      </p:grpSp>
      <p:pic>
        <p:nvPicPr>
          <p:cNvPr id="6" name="Graphic 5" descr="Money outline">
            <a:extLst>
              <a:ext uri="{FF2B5EF4-FFF2-40B4-BE49-F238E27FC236}">
                <a16:creationId xmlns:a16="http://schemas.microsoft.com/office/drawing/2014/main" id="{51DE219F-ADAF-3C77-1AAF-8E1D0B9B337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852369" y="68811"/>
            <a:ext cx="914400" cy="914400"/>
          </a:xfrm>
          <a:prstGeom prst="rect">
            <a:avLst/>
          </a:prstGeom>
        </p:spPr>
      </p:pic>
      <p:sp>
        <p:nvSpPr>
          <p:cNvPr id="7" name="Freeform 94">
            <a:extLst>
              <a:ext uri="{FF2B5EF4-FFF2-40B4-BE49-F238E27FC236}">
                <a16:creationId xmlns:a16="http://schemas.microsoft.com/office/drawing/2014/main" id="{F0A331D9-52C5-AB9A-CCA8-033FCF407F29}"/>
              </a:ext>
            </a:extLst>
          </p:cNvPr>
          <p:cNvSpPr>
            <a:spLocks/>
          </p:cNvSpPr>
          <p:nvPr/>
        </p:nvSpPr>
        <p:spPr bwMode="gray">
          <a:xfrm>
            <a:off x="5953364" y="4446217"/>
            <a:ext cx="364496" cy="374956"/>
          </a:xfrm>
          <a:custGeom>
            <a:avLst/>
            <a:gdLst>
              <a:gd name="T0" fmla="*/ 0 w 1052"/>
              <a:gd name="T1" fmla="*/ 526 h 1052"/>
              <a:gd name="T2" fmla="*/ 0 w 1052"/>
              <a:gd name="T3" fmla="*/ 526 h 1052"/>
              <a:gd name="T4" fmla="*/ 526 w 1052"/>
              <a:gd name="T5" fmla="*/ 0 h 1052"/>
              <a:gd name="T6" fmla="*/ 1052 w 1052"/>
              <a:gd name="T7" fmla="*/ 526 h 1052"/>
              <a:gd name="T8" fmla="*/ 1052 w 1052"/>
              <a:gd name="T9" fmla="*/ 526 h 1052"/>
              <a:gd name="T10" fmla="*/ 526 w 1052"/>
              <a:gd name="T11" fmla="*/ 1052 h 1052"/>
              <a:gd name="T12" fmla="*/ 526 w 1052"/>
              <a:gd name="T13" fmla="*/ 1052 h 1052"/>
              <a:gd name="T14" fmla="*/ 0 w 1052"/>
              <a:gd name="T15" fmla="*/ 526 h 10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1052" h="1052">
                <a:moveTo>
                  <a:pt x="0" y="526"/>
                </a:moveTo>
                <a:cubicBezTo>
                  <a:pt x="0" y="526"/>
                  <a:pt x="0" y="526"/>
                  <a:pt x="0" y="526"/>
                </a:cubicBezTo>
                <a:cubicBezTo>
                  <a:pt x="0" y="236"/>
                  <a:pt x="236" y="0"/>
                  <a:pt x="526" y="0"/>
                </a:cubicBezTo>
                <a:cubicBezTo>
                  <a:pt x="817" y="0"/>
                  <a:pt x="1052" y="236"/>
                  <a:pt x="1052" y="526"/>
                </a:cubicBezTo>
                <a:cubicBezTo>
                  <a:pt x="1052" y="526"/>
                  <a:pt x="1052" y="526"/>
                  <a:pt x="1052" y="526"/>
                </a:cubicBezTo>
                <a:cubicBezTo>
                  <a:pt x="1052" y="817"/>
                  <a:pt x="817" y="1052"/>
                  <a:pt x="526" y="1052"/>
                </a:cubicBezTo>
                <a:cubicBezTo>
                  <a:pt x="526" y="1052"/>
                  <a:pt x="526" y="1052"/>
                  <a:pt x="526" y="1052"/>
                </a:cubicBezTo>
                <a:cubicBezTo>
                  <a:pt x="236" y="1052"/>
                  <a:pt x="0" y="817"/>
                  <a:pt x="0" y="526"/>
                </a:cubicBezTo>
                <a:close/>
              </a:path>
            </a:pathLst>
          </a:custGeom>
          <a:solidFill>
            <a:schemeClr val="tx2"/>
          </a:solidFill>
          <a:ln>
            <a:solidFill>
              <a:schemeClr val="tx2"/>
            </a:solidFill>
          </a:ln>
        </p:spPr>
        <p:txBody>
          <a:bodyPr vert="horz" wrap="square" lIns="88641" tIns="44321" rIns="88641" bIns="44321" numCol="1" anchor="t" anchorCtr="0" compatLnSpc="1">
            <a:prstTxWarp prst="textNoShape">
              <a:avLst/>
            </a:prstTxWarp>
          </a:bodyPr>
          <a:lstStyle/>
          <a:p>
            <a:endParaRPr lang="it-IT" dirty="0">
              <a:solidFill>
                <a:srgbClr val="6E6F73"/>
              </a:solidFill>
              <a:latin typeface="+mj-lt"/>
            </a:endParaRPr>
          </a:p>
        </p:txBody>
      </p:sp>
      <p:sp>
        <p:nvSpPr>
          <p:cNvPr id="9" name="Freeform 95">
            <a:extLst>
              <a:ext uri="{FF2B5EF4-FFF2-40B4-BE49-F238E27FC236}">
                <a16:creationId xmlns:a16="http://schemas.microsoft.com/office/drawing/2014/main" id="{888BD339-9F3D-6F84-BDE0-657C7972DDB8}"/>
              </a:ext>
            </a:extLst>
          </p:cNvPr>
          <p:cNvSpPr>
            <a:spLocks/>
          </p:cNvSpPr>
          <p:nvPr/>
        </p:nvSpPr>
        <p:spPr bwMode="gray">
          <a:xfrm>
            <a:off x="6088388" y="4506586"/>
            <a:ext cx="143159" cy="274557"/>
          </a:xfrm>
          <a:custGeom>
            <a:avLst/>
            <a:gdLst>
              <a:gd name="T0" fmla="*/ 66 w 976"/>
              <a:gd name="T1" fmla="*/ 1824 h 1824"/>
              <a:gd name="T2" fmla="*/ 0 w 976"/>
              <a:gd name="T3" fmla="*/ 1758 h 1824"/>
              <a:gd name="T4" fmla="*/ 843 w 976"/>
              <a:gd name="T5" fmla="*/ 912 h 1824"/>
              <a:gd name="T6" fmla="*/ 0 w 976"/>
              <a:gd name="T7" fmla="*/ 66 h 1824"/>
              <a:gd name="T8" fmla="*/ 66 w 976"/>
              <a:gd name="T9" fmla="*/ 0 h 1824"/>
              <a:gd name="T10" fmla="*/ 976 w 976"/>
              <a:gd name="T11" fmla="*/ 912 h 1824"/>
              <a:gd name="T12" fmla="*/ 66 w 976"/>
              <a:gd name="T13" fmla="*/ 1824 h 18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976" h="1824">
                <a:moveTo>
                  <a:pt x="66" y="1824"/>
                </a:moveTo>
                <a:lnTo>
                  <a:pt x="0" y="1758"/>
                </a:lnTo>
                <a:lnTo>
                  <a:pt x="843" y="912"/>
                </a:lnTo>
                <a:lnTo>
                  <a:pt x="0" y="66"/>
                </a:lnTo>
                <a:lnTo>
                  <a:pt x="66" y="0"/>
                </a:lnTo>
                <a:lnTo>
                  <a:pt x="976" y="912"/>
                </a:lnTo>
                <a:lnTo>
                  <a:pt x="66" y="1824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88641" tIns="44321" rIns="88641" bIns="44321" numCol="1" anchor="t" anchorCtr="0" compatLnSpc="1">
            <a:prstTxWarp prst="textNoShape">
              <a:avLst/>
            </a:prstTxWarp>
          </a:bodyPr>
          <a:lstStyle/>
          <a:p>
            <a:endParaRPr lang="it-IT">
              <a:solidFill>
                <a:srgbClr val="6E6F73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94143736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21D6F73-5210-8B8B-61F4-0F4D250522E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" name="Title 1">
            <a:extLst>
              <a:ext uri="{FF2B5EF4-FFF2-40B4-BE49-F238E27FC236}">
                <a16:creationId xmlns:a16="http://schemas.microsoft.com/office/drawing/2014/main" id="{78A7EE8C-CC60-977D-E0E5-4F5B0CA321BA}"/>
              </a:ext>
            </a:extLst>
          </p:cNvPr>
          <p:cNvSpPr txBox="1">
            <a:spLocks/>
          </p:cNvSpPr>
          <p:nvPr/>
        </p:nvSpPr>
        <p:spPr>
          <a:xfrm>
            <a:off x="256464" y="84981"/>
            <a:ext cx="11421186" cy="954107"/>
          </a:xfrm>
          <a:prstGeom prst="rect">
            <a:avLst/>
          </a:prstGeom>
          <a:noFill/>
          <a:ln>
            <a:noFill/>
          </a:ln>
        </p:spPr>
        <p:txBody>
          <a:bodyPr vert="horz" lIns="0" tIns="0" rIns="0" bIns="0" rtlCol="0" anchor="ctr" anchorCtr="0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it-IT" sz="2400" b="1" kern="1200">
                <a:solidFill>
                  <a:srgbClr val="054977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r>
              <a:rPr lang="it-IT" sz="3200" b="0" dirty="0">
                <a:solidFill>
                  <a:srgbClr val="30636E"/>
                </a:solidFill>
                <a:latin typeface="Bahnschrift Light SemiCondensed" panose="020B0502040204020203" pitchFamily="34" charset="0"/>
                <a:ea typeface="+mn-ea"/>
                <a:cs typeface="+mn-cs"/>
              </a:rPr>
              <a:t>Lesson </a:t>
            </a:r>
            <a:r>
              <a:rPr lang="it-IT" sz="3200" b="0" dirty="0" err="1">
                <a:solidFill>
                  <a:srgbClr val="30636E"/>
                </a:solidFill>
                <a:latin typeface="Bahnschrift Light SemiCondensed" panose="020B0502040204020203" pitchFamily="34" charset="0"/>
                <a:ea typeface="+mn-ea"/>
                <a:cs typeface="+mn-cs"/>
              </a:rPr>
              <a:t>learnt</a:t>
            </a:r>
            <a:r>
              <a:rPr lang="it-IT" sz="3200" b="0" dirty="0">
                <a:solidFill>
                  <a:srgbClr val="30636E"/>
                </a:solidFill>
                <a:latin typeface="Bahnschrift Light SemiCondensed" panose="020B0502040204020203" pitchFamily="34" charset="0"/>
                <a:ea typeface="+mn-ea"/>
                <a:cs typeface="+mn-cs"/>
              </a:rPr>
              <a:t>: ingaggio stakeholders</a:t>
            </a:r>
          </a:p>
        </p:txBody>
      </p:sp>
      <p:sp>
        <p:nvSpPr>
          <p:cNvPr id="2" name="Rectangle 57">
            <a:extLst>
              <a:ext uri="{FF2B5EF4-FFF2-40B4-BE49-F238E27FC236}">
                <a16:creationId xmlns:a16="http://schemas.microsoft.com/office/drawing/2014/main" id="{4BB5E42C-DEFF-EDDF-78A2-9C94656C81C9}"/>
              </a:ext>
            </a:extLst>
          </p:cNvPr>
          <p:cNvSpPr/>
          <p:nvPr/>
        </p:nvSpPr>
        <p:spPr>
          <a:xfrm>
            <a:off x="268078" y="972471"/>
            <a:ext cx="5631202" cy="36933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  <a:defRPr b="0" i="0"/>
            </a:pPr>
            <a:r>
              <a:rPr lang="it-IT" sz="2400" b="1" dirty="0">
                <a:solidFill>
                  <a:srgbClr val="30636E"/>
                </a:solidFill>
                <a:latin typeface="Bahnschrift Light SemiCondensed" panose="020B0502040204020203" pitchFamily="34" charset="0"/>
                <a:cs typeface="Henderson BCG Sans Light"/>
                <a:sym typeface="+mn-lt"/>
              </a:rPr>
              <a:t>Sfide progettuali</a:t>
            </a:r>
          </a:p>
        </p:txBody>
      </p:sp>
      <p:sp>
        <p:nvSpPr>
          <p:cNvPr id="72" name="Rectangle 57">
            <a:extLst>
              <a:ext uri="{FF2B5EF4-FFF2-40B4-BE49-F238E27FC236}">
                <a16:creationId xmlns:a16="http://schemas.microsoft.com/office/drawing/2014/main" id="{9102B4EB-5CC6-CB5C-E6FF-247312F369B5}"/>
              </a:ext>
            </a:extLst>
          </p:cNvPr>
          <p:cNvSpPr/>
          <p:nvPr/>
        </p:nvSpPr>
        <p:spPr>
          <a:xfrm>
            <a:off x="6224685" y="967040"/>
            <a:ext cx="5631202" cy="36933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  <a:defRPr b="0" i="0"/>
            </a:pPr>
            <a:r>
              <a:rPr lang="it-IT" sz="2400" b="1">
                <a:solidFill>
                  <a:srgbClr val="30636E"/>
                </a:solidFill>
                <a:latin typeface="Bahnschrift Light SemiCondensed" panose="020B0502040204020203" pitchFamily="34" charset="0"/>
                <a:cs typeface="Henderson BCG Sans Light"/>
                <a:sym typeface="+mn-lt"/>
              </a:rPr>
              <a:t>Lesson </a:t>
            </a:r>
            <a:r>
              <a:rPr lang="it-IT" sz="2400" b="1" err="1">
                <a:solidFill>
                  <a:srgbClr val="30636E"/>
                </a:solidFill>
                <a:latin typeface="Bahnschrift Light SemiCondensed" panose="020B0502040204020203" pitchFamily="34" charset="0"/>
                <a:cs typeface="Henderson BCG Sans Light"/>
                <a:sym typeface="+mn-lt"/>
              </a:rPr>
              <a:t>learnt</a:t>
            </a:r>
            <a:r>
              <a:rPr lang="it-IT" sz="2400" b="1">
                <a:solidFill>
                  <a:srgbClr val="30636E"/>
                </a:solidFill>
                <a:latin typeface="Bahnschrift Light SemiCondensed" panose="020B0502040204020203" pitchFamily="34" charset="0"/>
                <a:cs typeface="Henderson BCG Sans Light"/>
                <a:sym typeface="+mn-lt"/>
              </a:rPr>
              <a:t> </a:t>
            </a:r>
          </a:p>
        </p:txBody>
      </p:sp>
      <p:sp>
        <p:nvSpPr>
          <p:cNvPr id="16" name="Rectangle 57">
            <a:extLst>
              <a:ext uri="{FF2B5EF4-FFF2-40B4-BE49-F238E27FC236}">
                <a16:creationId xmlns:a16="http://schemas.microsoft.com/office/drawing/2014/main" id="{E7F1BBFE-56B6-8217-CCBB-554FF1EE8FD4}"/>
              </a:ext>
            </a:extLst>
          </p:cNvPr>
          <p:cNvSpPr/>
          <p:nvPr/>
        </p:nvSpPr>
        <p:spPr>
          <a:xfrm>
            <a:off x="420967" y="4059455"/>
            <a:ext cx="5400000" cy="1008000"/>
          </a:xfrm>
          <a:prstGeom prst="rect">
            <a:avLst/>
          </a:prstGeom>
          <a:ln>
            <a:solidFill>
              <a:srgbClr val="40B3AA"/>
            </a:solidFill>
          </a:ln>
        </p:spPr>
        <p:txBody>
          <a:bodyPr wrap="square" lIns="0" tIns="0" rIns="0" bIns="0" anchor="ctr">
            <a:noAutofit/>
          </a:bodyPr>
          <a:lstStyle/>
          <a:p>
            <a:pPr marL="71755" defTabSz="1080000">
              <a:spcBef>
                <a:spcPts val="400"/>
              </a:spcBef>
              <a:spcAft>
                <a:spcPts val="400"/>
              </a:spcAft>
              <a:defRPr b="0" i="0"/>
            </a:pPr>
            <a:r>
              <a:rPr lang="it-IT" sz="2000" dirty="0">
                <a:solidFill>
                  <a:srgbClr val="30636E"/>
                </a:solidFill>
                <a:latin typeface="Bahnschrift Light SemiCondensed"/>
                <a:cs typeface="Henderson BCG Sans Light"/>
                <a:sym typeface="+mn-lt"/>
              </a:rPr>
              <a:t>Elaborare un adeguato piano di diffusione delle conoscenze e disseminazione dei risultati</a:t>
            </a:r>
            <a:endParaRPr lang="en-US" sz="2000" dirty="0">
              <a:latin typeface="Bahnschrift Light SemiCondensed"/>
            </a:endParaRPr>
          </a:p>
        </p:txBody>
      </p:sp>
      <p:sp>
        <p:nvSpPr>
          <p:cNvPr id="17" name="Rectangle 57">
            <a:extLst>
              <a:ext uri="{FF2B5EF4-FFF2-40B4-BE49-F238E27FC236}">
                <a16:creationId xmlns:a16="http://schemas.microsoft.com/office/drawing/2014/main" id="{384EC132-1388-3734-D04D-3887A9EDCB46}"/>
              </a:ext>
            </a:extLst>
          </p:cNvPr>
          <p:cNvSpPr/>
          <p:nvPr/>
        </p:nvSpPr>
        <p:spPr>
          <a:xfrm>
            <a:off x="6450258" y="4059455"/>
            <a:ext cx="5400000" cy="1008000"/>
          </a:xfrm>
          <a:prstGeom prst="rect">
            <a:avLst/>
          </a:prstGeom>
          <a:ln>
            <a:solidFill>
              <a:srgbClr val="40B3AA"/>
            </a:solidFill>
          </a:ln>
        </p:spPr>
        <p:txBody>
          <a:bodyPr wrap="square" lIns="0" tIns="0" rIns="0" bIns="0" anchor="ctr">
            <a:noAutofit/>
          </a:bodyPr>
          <a:lstStyle/>
          <a:p>
            <a:pPr marL="71755" defTabSz="1080000">
              <a:spcBef>
                <a:spcPts val="400"/>
              </a:spcBef>
              <a:spcAft>
                <a:spcPts val="400"/>
              </a:spcAft>
              <a:defRPr b="0" i="0"/>
            </a:pPr>
            <a:r>
              <a:rPr lang="it-IT" sz="2000" b="1" dirty="0">
                <a:solidFill>
                  <a:srgbClr val="40B3AA"/>
                </a:solidFill>
                <a:latin typeface="Bahnschrift Light SemiCondensed"/>
                <a:sym typeface="+mn-lt"/>
              </a:rPr>
              <a:t>Progettare</a:t>
            </a:r>
            <a:r>
              <a:rPr lang="it-IT" sz="2000" b="1" dirty="0">
                <a:solidFill>
                  <a:srgbClr val="40B3AA"/>
                </a:solidFill>
                <a:latin typeface="Bahnschrift Light SemiCondensed"/>
                <a:cs typeface="Henderson BCG Sans Light"/>
                <a:sym typeface="+mn-lt"/>
              </a:rPr>
              <a:t> </a:t>
            </a:r>
            <a:r>
              <a:rPr lang="it-IT" sz="2000" dirty="0">
                <a:solidFill>
                  <a:srgbClr val="30636E"/>
                </a:solidFill>
                <a:latin typeface="Bahnschrift Light SemiCondensed"/>
                <a:sym typeface="+mn-lt"/>
              </a:rPr>
              <a:t>le a</a:t>
            </a:r>
            <a:r>
              <a:rPr lang="it-IT" sz="2000" dirty="0">
                <a:solidFill>
                  <a:srgbClr val="30636E"/>
                </a:solidFill>
                <a:latin typeface="Bahnschrift Light SemiCondensed"/>
                <a:cs typeface="Henderson BCG Sans Light"/>
                <a:sym typeface="+mn-lt"/>
              </a:rPr>
              <a:t>ttività di "knowledge sharing" da effettuare durante tutta la durata del Grant Agreement.</a:t>
            </a:r>
            <a:endParaRPr lang="it-IT" sz="2000" dirty="0">
              <a:solidFill>
                <a:srgbClr val="30636E"/>
              </a:solidFill>
              <a:latin typeface="Bahnschrift Light SemiCondensed"/>
            </a:endParaRPr>
          </a:p>
        </p:txBody>
      </p:sp>
      <p:sp>
        <p:nvSpPr>
          <p:cNvPr id="28" name="Rectangle: Rounded Corners 27">
            <a:extLst>
              <a:ext uri="{FF2B5EF4-FFF2-40B4-BE49-F238E27FC236}">
                <a16:creationId xmlns:a16="http://schemas.microsoft.com/office/drawing/2014/main" id="{1D277B71-59F4-EF30-E874-D9BFA6ECDBE1}"/>
              </a:ext>
            </a:extLst>
          </p:cNvPr>
          <p:cNvSpPr/>
          <p:nvPr/>
        </p:nvSpPr>
        <p:spPr>
          <a:xfrm>
            <a:off x="420966" y="5350003"/>
            <a:ext cx="11429291" cy="594484"/>
          </a:xfrm>
          <a:prstGeom prst="roundRect">
            <a:avLst/>
          </a:prstGeom>
          <a:solidFill>
            <a:srgbClr val="40B3AA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it-IT" sz="2000" b="1" dirty="0">
                <a:latin typeface="Bahnschrift Light SemiCondensed"/>
              </a:rPr>
              <a:t>L’ingaggio degli stakeholder richiede un commitment non inferiore alle altre attività di sviluppo </a:t>
            </a:r>
            <a:r>
              <a:rPr lang="it-IT" sz="2000" b="1" dirty="0" err="1">
                <a:latin typeface="Bahnschrift Light SemiCondensed"/>
              </a:rPr>
              <a:t>dell’application</a:t>
            </a:r>
            <a:endParaRPr lang="it-IT" sz="2000" b="1" dirty="0">
              <a:latin typeface="Bahnschrift Light SemiCondensed"/>
            </a:endParaRPr>
          </a:p>
        </p:txBody>
      </p:sp>
      <p:sp>
        <p:nvSpPr>
          <p:cNvPr id="3" name="Rectangle 57">
            <a:extLst>
              <a:ext uri="{FF2B5EF4-FFF2-40B4-BE49-F238E27FC236}">
                <a16:creationId xmlns:a16="http://schemas.microsoft.com/office/drawing/2014/main" id="{4F870583-6E2C-3FD6-BEC0-01F2F9865950}"/>
              </a:ext>
            </a:extLst>
          </p:cNvPr>
          <p:cNvSpPr/>
          <p:nvPr/>
        </p:nvSpPr>
        <p:spPr>
          <a:xfrm>
            <a:off x="420967" y="2182635"/>
            <a:ext cx="5400000" cy="1008000"/>
          </a:xfrm>
          <a:prstGeom prst="rect">
            <a:avLst/>
          </a:prstGeom>
          <a:ln>
            <a:solidFill>
              <a:srgbClr val="40B3AA"/>
            </a:solidFill>
          </a:ln>
        </p:spPr>
        <p:txBody>
          <a:bodyPr wrap="square" lIns="0" tIns="0" rIns="0" bIns="0" anchor="ctr">
            <a:noAutofit/>
          </a:bodyPr>
          <a:lstStyle/>
          <a:p>
            <a:pPr marL="71755" defTabSz="1080000">
              <a:spcBef>
                <a:spcPts val="400"/>
              </a:spcBef>
              <a:spcAft>
                <a:spcPts val="400"/>
              </a:spcAft>
              <a:defRPr b="0" i="0"/>
            </a:pPr>
            <a:r>
              <a:rPr lang="it-IT" sz="2000" dirty="0">
                <a:solidFill>
                  <a:srgbClr val="30636E"/>
                </a:solidFill>
                <a:latin typeface="Bahnschrift Light SemiCondensed"/>
                <a:cs typeface="Henderson BCG Sans Light"/>
                <a:sym typeface="+mn-lt"/>
              </a:rPr>
              <a:t>Dimostrare consenso e supporto al progetto da parte di tutti gli stakeholders</a:t>
            </a:r>
            <a:endParaRPr lang="it-IT" sz="2000" dirty="0">
              <a:solidFill>
                <a:srgbClr val="30636E"/>
              </a:solidFill>
              <a:latin typeface="Bahnschrift Light SemiCondensed"/>
              <a:cs typeface="Henderson BCG Sans Light"/>
            </a:endParaRPr>
          </a:p>
        </p:txBody>
      </p:sp>
      <p:sp>
        <p:nvSpPr>
          <p:cNvPr id="8" name="Rectangle 57">
            <a:extLst>
              <a:ext uri="{FF2B5EF4-FFF2-40B4-BE49-F238E27FC236}">
                <a16:creationId xmlns:a16="http://schemas.microsoft.com/office/drawing/2014/main" id="{59AF27F3-A78B-B1F3-77B8-923D15608497}"/>
              </a:ext>
            </a:extLst>
          </p:cNvPr>
          <p:cNvSpPr/>
          <p:nvPr/>
        </p:nvSpPr>
        <p:spPr>
          <a:xfrm>
            <a:off x="6450258" y="1570535"/>
            <a:ext cx="5400000" cy="2240020"/>
          </a:xfrm>
          <a:prstGeom prst="rect">
            <a:avLst/>
          </a:prstGeom>
          <a:ln>
            <a:solidFill>
              <a:srgbClr val="40B3AA"/>
            </a:solidFill>
          </a:ln>
        </p:spPr>
        <p:txBody>
          <a:bodyPr wrap="square" lIns="0" tIns="0" rIns="0" bIns="0" anchor="ctr">
            <a:noAutofit/>
          </a:bodyPr>
          <a:lstStyle/>
          <a:p>
            <a:pPr marL="71755" defTabSz="1080000">
              <a:spcBef>
                <a:spcPts val="400"/>
              </a:spcBef>
              <a:spcAft>
                <a:spcPts val="400"/>
              </a:spcAft>
              <a:defRPr b="0" i="0"/>
            </a:pPr>
            <a:r>
              <a:rPr lang="it-IT" sz="2000" dirty="0">
                <a:solidFill>
                  <a:srgbClr val="30636E"/>
                </a:solidFill>
                <a:latin typeface="Bahnschrift Light SemiCondensed"/>
                <a:cs typeface="Henderson BCG Sans Light"/>
                <a:sym typeface="+mn-lt"/>
              </a:rPr>
              <a:t>Attivazione di uno stream di attività per la raccolta di </a:t>
            </a:r>
            <a:r>
              <a:rPr lang="it-IT" sz="2000" b="1" dirty="0">
                <a:solidFill>
                  <a:srgbClr val="40B3AA"/>
                </a:solidFill>
                <a:latin typeface="Bahnschrift Light SemiCondensed"/>
                <a:cs typeface="Henderson BCG Sans Light"/>
                <a:sym typeface="+mn-lt"/>
              </a:rPr>
              <a:t>lettere di Supporto </a:t>
            </a:r>
            <a:r>
              <a:rPr lang="it-IT" sz="2000" dirty="0">
                <a:solidFill>
                  <a:srgbClr val="30636E"/>
                </a:solidFill>
                <a:latin typeface="Bahnschrift Light SemiCondensed"/>
                <a:sym typeface="+mn-lt"/>
              </a:rPr>
              <a:t>da parte di</a:t>
            </a:r>
            <a:r>
              <a:rPr lang="it-IT" sz="2000" b="1" dirty="0">
                <a:solidFill>
                  <a:srgbClr val="40B3AA"/>
                </a:solidFill>
                <a:latin typeface="Bahnschrift Light SemiCondensed"/>
                <a:cs typeface="Henderson BCG Sans Light"/>
                <a:sym typeface="+mn-lt"/>
              </a:rPr>
              <a:t>:</a:t>
            </a:r>
            <a:endParaRPr lang="it-IT" sz="2000" dirty="0">
              <a:solidFill>
                <a:srgbClr val="30636E"/>
              </a:solidFill>
              <a:latin typeface="Bahnschrift Light SemiCondensed"/>
              <a:cs typeface="Henderson BCG Sans Light"/>
              <a:sym typeface="+mn-lt"/>
            </a:endParaRPr>
          </a:p>
          <a:p>
            <a:pPr marL="414655" indent="-342900" defTabSz="1080000">
              <a:spcBef>
                <a:spcPts val="400"/>
              </a:spcBef>
              <a:spcAft>
                <a:spcPts val="400"/>
              </a:spcAft>
              <a:buFont typeface="Arial"/>
              <a:buChar char="•"/>
              <a:defRPr b="0" i="0"/>
            </a:pPr>
            <a:r>
              <a:rPr lang="it-IT" sz="2000" b="1" dirty="0">
                <a:solidFill>
                  <a:srgbClr val="40B3AA"/>
                </a:solidFill>
                <a:latin typeface="Bahnschrift Light SemiCondensed"/>
                <a:cs typeface="Henderson BCG Sans Light"/>
                <a:sym typeface="+mn-lt"/>
              </a:rPr>
              <a:t>Autorità locali: Comune, Regione, </a:t>
            </a:r>
            <a:endParaRPr lang="it-IT" sz="2000" dirty="0">
              <a:solidFill>
                <a:srgbClr val="30636E"/>
              </a:solidFill>
              <a:latin typeface="Bahnschrift Light SemiCondensed"/>
              <a:cs typeface="Henderson BCG Sans Light"/>
            </a:endParaRPr>
          </a:p>
          <a:p>
            <a:pPr marL="414655" indent="-342900" defTabSz="1080000">
              <a:spcBef>
                <a:spcPts val="400"/>
              </a:spcBef>
              <a:spcAft>
                <a:spcPts val="400"/>
              </a:spcAft>
              <a:buFont typeface="Arial,Sans-Serif"/>
              <a:buChar char="•"/>
              <a:defRPr b="0" i="0"/>
            </a:pPr>
            <a:r>
              <a:rPr lang="it-IT" sz="2000" b="1" dirty="0">
                <a:solidFill>
                  <a:srgbClr val="40B3AA"/>
                </a:solidFill>
                <a:latin typeface="Bahnschrift Light SemiCondensed"/>
                <a:cs typeface="Henderson BCG Sans Light"/>
              </a:rPr>
              <a:t>Autorità nazionali: MIMIT, MASE,</a:t>
            </a:r>
            <a:endParaRPr lang="it-IT" sz="2000" dirty="0">
              <a:solidFill>
                <a:srgbClr val="000000"/>
              </a:solidFill>
              <a:latin typeface="Bahnschrift Light SemiCondensed"/>
              <a:cs typeface="Henderson BCG Sans Light"/>
            </a:endParaRPr>
          </a:p>
          <a:p>
            <a:pPr marL="414655" indent="-342900" defTabSz="1080000">
              <a:spcBef>
                <a:spcPts val="400"/>
              </a:spcBef>
              <a:spcAft>
                <a:spcPts val="400"/>
              </a:spcAft>
              <a:buFont typeface="Arial"/>
              <a:buChar char="•"/>
              <a:defRPr b="0" i="0"/>
            </a:pPr>
            <a:r>
              <a:rPr lang="it-IT" sz="2000" b="1" dirty="0">
                <a:solidFill>
                  <a:srgbClr val="40B3AA"/>
                </a:solidFill>
                <a:latin typeface="Bahnschrift Light SemiCondensed"/>
              </a:rPr>
              <a:t>Università ed Enti di Ricerca</a:t>
            </a:r>
          </a:p>
          <a:p>
            <a:pPr marL="414655" indent="-342900" defTabSz="1080000">
              <a:spcBef>
                <a:spcPts val="400"/>
              </a:spcBef>
              <a:spcAft>
                <a:spcPts val="400"/>
              </a:spcAft>
              <a:buFont typeface="Arial"/>
              <a:buChar char="•"/>
              <a:defRPr b="0" i="0"/>
            </a:pPr>
            <a:r>
              <a:rPr lang="it-IT" sz="2000" b="1" dirty="0">
                <a:solidFill>
                  <a:srgbClr val="40B3AA"/>
                </a:solidFill>
                <a:latin typeface="Bahnschrift Light SemiCondensed"/>
              </a:rPr>
              <a:t>Altre organizzazioni pubbliche e sociali</a:t>
            </a:r>
          </a:p>
        </p:txBody>
      </p:sp>
      <p:cxnSp>
        <p:nvCxnSpPr>
          <p:cNvPr id="41" name="Straight Connector 21">
            <a:extLst>
              <a:ext uri="{FF2B5EF4-FFF2-40B4-BE49-F238E27FC236}">
                <a16:creationId xmlns:a16="http://schemas.microsoft.com/office/drawing/2014/main" id="{DBCDEADB-ADD8-ADEB-F4CF-EFB7F6BBD56E}"/>
              </a:ext>
            </a:extLst>
          </p:cNvPr>
          <p:cNvCxnSpPr>
            <a:cxnSpLocks/>
          </p:cNvCxnSpPr>
          <p:nvPr/>
        </p:nvCxnSpPr>
        <p:spPr>
          <a:xfrm>
            <a:off x="6135613" y="2177423"/>
            <a:ext cx="0" cy="1008000"/>
          </a:xfrm>
          <a:prstGeom prst="line">
            <a:avLst/>
          </a:prstGeom>
          <a:ln w="9525" cap="rnd">
            <a:solidFill>
              <a:srgbClr val="9A9A9A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2" name="Group 22">
            <a:extLst>
              <a:ext uri="{FF2B5EF4-FFF2-40B4-BE49-F238E27FC236}">
                <a16:creationId xmlns:a16="http://schemas.microsoft.com/office/drawing/2014/main" id="{376FA2BB-D616-DCD8-817B-930FD09E2CC1}"/>
              </a:ext>
            </a:extLst>
          </p:cNvPr>
          <p:cNvGrpSpPr/>
          <p:nvPr/>
        </p:nvGrpSpPr>
        <p:grpSpPr>
          <a:xfrm>
            <a:off x="5953364" y="2498312"/>
            <a:ext cx="364496" cy="374956"/>
            <a:chOff x="5937564" y="2159679"/>
            <a:chExt cx="306171" cy="306910"/>
          </a:xfrm>
        </p:grpSpPr>
        <p:sp>
          <p:nvSpPr>
            <p:cNvPr id="43" name="Freeform 94">
              <a:extLst>
                <a:ext uri="{FF2B5EF4-FFF2-40B4-BE49-F238E27FC236}">
                  <a16:creationId xmlns:a16="http://schemas.microsoft.com/office/drawing/2014/main" id="{4334D261-83C5-3D3E-E1C7-C5953F656E9A}"/>
                </a:ext>
              </a:extLst>
            </p:cNvPr>
            <p:cNvSpPr>
              <a:spLocks/>
            </p:cNvSpPr>
            <p:nvPr/>
          </p:nvSpPr>
          <p:spPr bwMode="gray">
            <a:xfrm>
              <a:off x="5937564" y="2159679"/>
              <a:ext cx="306171" cy="306910"/>
            </a:xfrm>
            <a:custGeom>
              <a:avLst/>
              <a:gdLst>
                <a:gd name="T0" fmla="*/ 0 w 1052"/>
                <a:gd name="T1" fmla="*/ 526 h 1052"/>
                <a:gd name="T2" fmla="*/ 0 w 1052"/>
                <a:gd name="T3" fmla="*/ 526 h 1052"/>
                <a:gd name="T4" fmla="*/ 526 w 1052"/>
                <a:gd name="T5" fmla="*/ 0 h 1052"/>
                <a:gd name="T6" fmla="*/ 1052 w 1052"/>
                <a:gd name="T7" fmla="*/ 526 h 1052"/>
                <a:gd name="T8" fmla="*/ 1052 w 1052"/>
                <a:gd name="T9" fmla="*/ 526 h 1052"/>
                <a:gd name="T10" fmla="*/ 526 w 1052"/>
                <a:gd name="T11" fmla="*/ 1052 h 1052"/>
                <a:gd name="T12" fmla="*/ 526 w 1052"/>
                <a:gd name="T13" fmla="*/ 1052 h 1052"/>
                <a:gd name="T14" fmla="*/ 0 w 1052"/>
                <a:gd name="T15" fmla="*/ 526 h 10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52" h="1052">
                  <a:moveTo>
                    <a:pt x="0" y="526"/>
                  </a:moveTo>
                  <a:cubicBezTo>
                    <a:pt x="0" y="526"/>
                    <a:pt x="0" y="526"/>
                    <a:pt x="0" y="526"/>
                  </a:cubicBezTo>
                  <a:cubicBezTo>
                    <a:pt x="0" y="236"/>
                    <a:pt x="236" y="0"/>
                    <a:pt x="526" y="0"/>
                  </a:cubicBezTo>
                  <a:cubicBezTo>
                    <a:pt x="817" y="0"/>
                    <a:pt x="1052" y="236"/>
                    <a:pt x="1052" y="526"/>
                  </a:cubicBezTo>
                  <a:cubicBezTo>
                    <a:pt x="1052" y="526"/>
                    <a:pt x="1052" y="526"/>
                    <a:pt x="1052" y="526"/>
                  </a:cubicBezTo>
                  <a:cubicBezTo>
                    <a:pt x="1052" y="817"/>
                    <a:pt x="817" y="1052"/>
                    <a:pt x="526" y="1052"/>
                  </a:cubicBezTo>
                  <a:cubicBezTo>
                    <a:pt x="526" y="1052"/>
                    <a:pt x="526" y="1052"/>
                    <a:pt x="526" y="1052"/>
                  </a:cubicBezTo>
                  <a:cubicBezTo>
                    <a:pt x="236" y="1052"/>
                    <a:pt x="0" y="817"/>
                    <a:pt x="0" y="526"/>
                  </a:cubicBezTo>
                  <a:close/>
                </a:path>
              </a:pathLst>
            </a:custGeom>
            <a:solidFill>
              <a:schemeClr val="tx2"/>
            </a:solidFill>
            <a:ln>
              <a:solidFill>
                <a:schemeClr val="tx2"/>
              </a:solidFill>
            </a:ln>
          </p:spPr>
          <p:txBody>
            <a:bodyPr vert="horz" wrap="square" lIns="88641" tIns="44321" rIns="88641" bIns="44321" numCol="1" anchor="t" anchorCtr="0" compatLnSpc="1">
              <a:prstTxWarp prst="textNoShape">
                <a:avLst/>
              </a:prstTxWarp>
            </a:bodyPr>
            <a:lstStyle/>
            <a:p>
              <a:endParaRPr lang="it-IT" dirty="0">
                <a:solidFill>
                  <a:srgbClr val="6E6F73"/>
                </a:solidFill>
                <a:latin typeface="+mj-lt"/>
              </a:endParaRPr>
            </a:p>
          </p:txBody>
        </p:sp>
        <p:sp>
          <p:nvSpPr>
            <p:cNvPr id="44" name="Freeform 95">
              <a:extLst>
                <a:ext uri="{FF2B5EF4-FFF2-40B4-BE49-F238E27FC236}">
                  <a16:creationId xmlns:a16="http://schemas.microsoft.com/office/drawing/2014/main" id="{A355B969-F862-AB6B-AAF2-F4133F321453}"/>
                </a:ext>
              </a:extLst>
            </p:cNvPr>
            <p:cNvSpPr>
              <a:spLocks/>
            </p:cNvSpPr>
            <p:nvPr/>
          </p:nvSpPr>
          <p:spPr bwMode="gray">
            <a:xfrm>
              <a:off x="6048661" y="2209971"/>
              <a:ext cx="120251" cy="224731"/>
            </a:xfrm>
            <a:custGeom>
              <a:avLst/>
              <a:gdLst>
                <a:gd name="T0" fmla="*/ 66 w 976"/>
                <a:gd name="T1" fmla="*/ 1824 h 1824"/>
                <a:gd name="T2" fmla="*/ 0 w 976"/>
                <a:gd name="T3" fmla="*/ 1758 h 1824"/>
                <a:gd name="T4" fmla="*/ 843 w 976"/>
                <a:gd name="T5" fmla="*/ 912 h 1824"/>
                <a:gd name="T6" fmla="*/ 0 w 976"/>
                <a:gd name="T7" fmla="*/ 66 h 1824"/>
                <a:gd name="T8" fmla="*/ 66 w 976"/>
                <a:gd name="T9" fmla="*/ 0 h 1824"/>
                <a:gd name="T10" fmla="*/ 976 w 976"/>
                <a:gd name="T11" fmla="*/ 912 h 1824"/>
                <a:gd name="T12" fmla="*/ 66 w 976"/>
                <a:gd name="T13" fmla="*/ 1824 h 18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76" h="1824">
                  <a:moveTo>
                    <a:pt x="66" y="1824"/>
                  </a:moveTo>
                  <a:lnTo>
                    <a:pt x="0" y="1758"/>
                  </a:lnTo>
                  <a:lnTo>
                    <a:pt x="843" y="912"/>
                  </a:lnTo>
                  <a:lnTo>
                    <a:pt x="0" y="66"/>
                  </a:lnTo>
                  <a:lnTo>
                    <a:pt x="66" y="0"/>
                  </a:lnTo>
                  <a:lnTo>
                    <a:pt x="976" y="912"/>
                  </a:lnTo>
                  <a:lnTo>
                    <a:pt x="66" y="182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8641" tIns="44321" rIns="88641" bIns="44321" numCol="1" anchor="t" anchorCtr="0" compatLnSpc="1">
              <a:prstTxWarp prst="textNoShape">
                <a:avLst/>
              </a:prstTxWarp>
            </a:bodyPr>
            <a:lstStyle/>
            <a:p>
              <a:endParaRPr lang="it-IT">
                <a:solidFill>
                  <a:srgbClr val="6E6F73"/>
                </a:solidFill>
                <a:latin typeface="+mj-lt"/>
              </a:endParaRPr>
            </a:p>
          </p:txBody>
        </p:sp>
      </p:grpSp>
      <p:cxnSp>
        <p:nvCxnSpPr>
          <p:cNvPr id="46" name="Straight Connector 21">
            <a:extLst>
              <a:ext uri="{FF2B5EF4-FFF2-40B4-BE49-F238E27FC236}">
                <a16:creationId xmlns:a16="http://schemas.microsoft.com/office/drawing/2014/main" id="{85E2F1A4-A518-B02F-4F29-F1EADE4FA31D}"/>
              </a:ext>
            </a:extLst>
          </p:cNvPr>
          <p:cNvCxnSpPr>
            <a:cxnSpLocks/>
          </p:cNvCxnSpPr>
          <p:nvPr/>
        </p:nvCxnSpPr>
        <p:spPr>
          <a:xfrm>
            <a:off x="6135682" y="4062454"/>
            <a:ext cx="0" cy="1008000"/>
          </a:xfrm>
          <a:prstGeom prst="line">
            <a:avLst/>
          </a:prstGeom>
          <a:ln w="9525" cap="rnd">
            <a:solidFill>
              <a:srgbClr val="9A9A9A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7" name="Group 22">
            <a:extLst>
              <a:ext uri="{FF2B5EF4-FFF2-40B4-BE49-F238E27FC236}">
                <a16:creationId xmlns:a16="http://schemas.microsoft.com/office/drawing/2014/main" id="{828ECD5F-760D-F35E-3EE1-2DE0FA61F6DA}"/>
              </a:ext>
            </a:extLst>
          </p:cNvPr>
          <p:cNvGrpSpPr/>
          <p:nvPr/>
        </p:nvGrpSpPr>
        <p:grpSpPr>
          <a:xfrm>
            <a:off x="5953433" y="4373511"/>
            <a:ext cx="364496" cy="374956"/>
            <a:chOff x="5937564" y="2159679"/>
            <a:chExt cx="306171" cy="306910"/>
          </a:xfrm>
        </p:grpSpPr>
        <p:sp>
          <p:nvSpPr>
            <p:cNvPr id="48" name="Freeform 94">
              <a:extLst>
                <a:ext uri="{FF2B5EF4-FFF2-40B4-BE49-F238E27FC236}">
                  <a16:creationId xmlns:a16="http://schemas.microsoft.com/office/drawing/2014/main" id="{028D7C8A-C853-4F1C-61A1-417873DE3DBC}"/>
                </a:ext>
              </a:extLst>
            </p:cNvPr>
            <p:cNvSpPr>
              <a:spLocks/>
            </p:cNvSpPr>
            <p:nvPr/>
          </p:nvSpPr>
          <p:spPr bwMode="gray">
            <a:xfrm>
              <a:off x="5937564" y="2159679"/>
              <a:ext cx="306171" cy="306910"/>
            </a:xfrm>
            <a:custGeom>
              <a:avLst/>
              <a:gdLst>
                <a:gd name="T0" fmla="*/ 0 w 1052"/>
                <a:gd name="T1" fmla="*/ 526 h 1052"/>
                <a:gd name="T2" fmla="*/ 0 w 1052"/>
                <a:gd name="T3" fmla="*/ 526 h 1052"/>
                <a:gd name="T4" fmla="*/ 526 w 1052"/>
                <a:gd name="T5" fmla="*/ 0 h 1052"/>
                <a:gd name="T6" fmla="*/ 1052 w 1052"/>
                <a:gd name="T7" fmla="*/ 526 h 1052"/>
                <a:gd name="T8" fmla="*/ 1052 w 1052"/>
                <a:gd name="T9" fmla="*/ 526 h 1052"/>
                <a:gd name="T10" fmla="*/ 526 w 1052"/>
                <a:gd name="T11" fmla="*/ 1052 h 1052"/>
                <a:gd name="T12" fmla="*/ 526 w 1052"/>
                <a:gd name="T13" fmla="*/ 1052 h 1052"/>
                <a:gd name="T14" fmla="*/ 0 w 1052"/>
                <a:gd name="T15" fmla="*/ 526 h 10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52" h="1052">
                  <a:moveTo>
                    <a:pt x="0" y="526"/>
                  </a:moveTo>
                  <a:cubicBezTo>
                    <a:pt x="0" y="526"/>
                    <a:pt x="0" y="526"/>
                    <a:pt x="0" y="526"/>
                  </a:cubicBezTo>
                  <a:cubicBezTo>
                    <a:pt x="0" y="236"/>
                    <a:pt x="236" y="0"/>
                    <a:pt x="526" y="0"/>
                  </a:cubicBezTo>
                  <a:cubicBezTo>
                    <a:pt x="817" y="0"/>
                    <a:pt x="1052" y="236"/>
                    <a:pt x="1052" y="526"/>
                  </a:cubicBezTo>
                  <a:cubicBezTo>
                    <a:pt x="1052" y="526"/>
                    <a:pt x="1052" y="526"/>
                    <a:pt x="1052" y="526"/>
                  </a:cubicBezTo>
                  <a:cubicBezTo>
                    <a:pt x="1052" y="817"/>
                    <a:pt x="817" y="1052"/>
                    <a:pt x="526" y="1052"/>
                  </a:cubicBezTo>
                  <a:cubicBezTo>
                    <a:pt x="526" y="1052"/>
                    <a:pt x="526" y="1052"/>
                    <a:pt x="526" y="1052"/>
                  </a:cubicBezTo>
                  <a:cubicBezTo>
                    <a:pt x="236" y="1052"/>
                    <a:pt x="0" y="817"/>
                    <a:pt x="0" y="526"/>
                  </a:cubicBezTo>
                  <a:close/>
                </a:path>
              </a:pathLst>
            </a:custGeom>
            <a:solidFill>
              <a:schemeClr val="tx2"/>
            </a:solidFill>
            <a:ln>
              <a:solidFill>
                <a:schemeClr val="tx2"/>
              </a:solidFill>
            </a:ln>
          </p:spPr>
          <p:txBody>
            <a:bodyPr vert="horz" wrap="square" lIns="88641" tIns="44321" rIns="88641" bIns="44321" numCol="1" anchor="t" anchorCtr="0" compatLnSpc="1">
              <a:prstTxWarp prst="textNoShape">
                <a:avLst/>
              </a:prstTxWarp>
            </a:bodyPr>
            <a:lstStyle/>
            <a:p>
              <a:endParaRPr lang="it-IT" dirty="0">
                <a:solidFill>
                  <a:srgbClr val="6E6F73"/>
                </a:solidFill>
                <a:latin typeface="+mj-lt"/>
              </a:endParaRPr>
            </a:p>
          </p:txBody>
        </p:sp>
        <p:sp>
          <p:nvSpPr>
            <p:cNvPr id="49" name="Freeform 95">
              <a:extLst>
                <a:ext uri="{FF2B5EF4-FFF2-40B4-BE49-F238E27FC236}">
                  <a16:creationId xmlns:a16="http://schemas.microsoft.com/office/drawing/2014/main" id="{20F64E90-7C7D-9FFA-367B-D9BD1AD41F58}"/>
                </a:ext>
              </a:extLst>
            </p:cNvPr>
            <p:cNvSpPr>
              <a:spLocks/>
            </p:cNvSpPr>
            <p:nvPr/>
          </p:nvSpPr>
          <p:spPr bwMode="gray">
            <a:xfrm>
              <a:off x="6048661" y="2209971"/>
              <a:ext cx="120251" cy="224731"/>
            </a:xfrm>
            <a:custGeom>
              <a:avLst/>
              <a:gdLst>
                <a:gd name="T0" fmla="*/ 66 w 976"/>
                <a:gd name="T1" fmla="*/ 1824 h 1824"/>
                <a:gd name="T2" fmla="*/ 0 w 976"/>
                <a:gd name="T3" fmla="*/ 1758 h 1824"/>
                <a:gd name="T4" fmla="*/ 843 w 976"/>
                <a:gd name="T5" fmla="*/ 912 h 1824"/>
                <a:gd name="T6" fmla="*/ 0 w 976"/>
                <a:gd name="T7" fmla="*/ 66 h 1824"/>
                <a:gd name="T8" fmla="*/ 66 w 976"/>
                <a:gd name="T9" fmla="*/ 0 h 1824"/>
                <a:gd name="T10" fmla="*/ 976 w 976"/>
                <a:gd name="T11" fmla="*/ 912 h 1824"/>
                <a:gd name="T12" fmla="*/ 66 w 976"/>
                <a:gd name="T13" fmla="*/ 1824 h 18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76" h="1824">
                  <a:moveTo>
                    <a:pt x="66" y="1824"/>
                  </a:moveTo>
                  <a:lnTo>
                    <a:pt x="0" y="1758"/>
                  </a:lnTo>
                  <a:lnTo>
                    <a:pt x="843" y="912"/>
                  </a:lnTo>
                  <a:lnTo>
                    <a:pt x="0" y="66"/>
                  </a:lnTo>
                  <a:lnTo>
                    <a:pt x="66" y="0"/>
                  </a:lnTo>
                  <a:lnTo>
                    <a:pt x="976" y="912"/>
                  </a:lnTo>
                  <a:lnTo>
                    <a:pt x="66" y="182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8641" tIns="44321" rIns="88641" bIns="44321" numCol="1" anchor="t" anchorCtr="0" compatLnSpc="1">
              <a:prstTxWarp prst="textNoShape">
                <a:avLst/>
              </a:prstTxWarp>
            </a:bodyPr>
            <a:lstStyle/>
            <a:p>
              <a:endParaRPr lang="it-IT">
                <a:solidFill>
                  <a:srgbClr val="6E6F73"/>
                </a:solidFill>
                <a:latin typeface="+mj-lt"/>
              </a:endParaRPr>
            </a:p>
          </p:txBody>
        </p:sp>
      </p:grpSp>
      <p:pic>
        <p:nvPicPr>
          <p:cNvPr id="7" name="Graphic 6" descr="Management outline">
            <a:extLst>
              <a:ext uri="{FF2B5EF4-FFF2-40B4-BE49-F238E27FC236}">
                <a16:creationId xmlns:a16="http://schemas.microsoft.com/office/drawing/2014/main" id="{D55E3661-D922-6E87-71ED-7092A7CB54D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774864" y="86904"/>
            <a:ext cx="914400" cy="91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43053389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86FB91F-35ED-E6B4-8BAC-52FA8FF6290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asellaDiTesto 14">
            <a:extLst>
              <a:ext uri="{FF2B5EF4-FFF2-40B4-BE49-F238E27FC236}">
                <a16:creationId xmlns:a16="http://schemas.microsoft.com/office/drawing/2014/main" id="{5573B192-2306-31D2-4EAA-6D300AD267C6}"/>
              </a:ext>
            </a:extLst>
          </p:cNvPr>
          <p:cNvSpPr txBox="1"/>
          <p:nvPr/>
        </p:nvSpPr>
        <p:spPr>
          <a:xfrm>
            <a:off x="162906" y="252130"/>
            <a:ext cx="11901074" cy="584775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algn="l"/>
            <a:r>
              <a:rPr lang="it-IT" sz="3200" dirty="0">
                <a:solidFill>
                  <a:srgbClr val="30636E"/>
                </a:solidFill>
                <a:latin typeface="Bahnschrift Light SemiCondensed"/>
              </a:rPr>
              <a:t>Lesson </a:t>
            </a:r>
            <a:r>
              <a:rPr lang="it-IT" sz="3200" dirty="0" err="1">
                <a:solidFill>
                  <a:srgbClr val="30636E"/>
                </a:solidFill>
                <a:latin typeface="Bahnschrift Light SemiCondensed"/>
              </a:rPr>
              <a:t>learnt</a:t>
            </a:r>
            <a:r>
              <a:rPr lang="it-IT" sz="3200" dirty="0">
                <a:solidFill>
                  <a:srgbClr val="30636E"/>
                </a:solidFill>
                <a:latin typeface="Bahnschrift Light SemiCondensed"/>
              </a:rPr>
              <a:t>: aspetti chiave per la candidatura all’Innovation Fund</a:t>
            </a:r>
          </a:p>
        </p:txBody>
      </p:sp>
      <p:sp>
        <p:nvSpPr>
          <p:cNvPr id="4" name="CasellaDiTesto 6">
            <a:extLst>
              <a:ext uri="{FF2B5EF4-FFF2-40B4-BE49-F238E27FC236}">
                <a16:creationId xmlns:a16="http://schemas.microsoft.com/office/drawing/2014/main" id="{79AA3EAC-4575-6191-17C5-B643F9CA3339}"/>
              </a:ext>
            </a:extLst>
          </p:cNvPr>
          <p:cNvSpPr txBox="1"/>
          <p:nvPr/>
        </p:nvSpPr>
        <p:spPr>
          <a:xfrm>
            <a:off x="804094" y="1012166"/>
            <a:ext cx="10776587" cy="5016758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342900" indent="-342900">
              <a:buFont typeface="+mj-lt"/>
              <a:buAutoNum type="arabicPeriod"/>
            </a:pPr>
            <a:r>
              <a:rPr lang="it-IT" sz="2000" dirty="0">
                <a:solidFill>
                  <a:srgbClr val="32837D"/>
                </a:solidFill>
                <a:sym typeface="Wingdings" panose="05000000000000000000" pitchFamily="2" charset="2"/>
              </a:rPr>
              <a:t>Sviluppare un progetto con aspetti innovativi definiti da studi e scouting preliminari </a:t>
            </a:r>
            <a:r>
              <a:rPr lang="it-IT" sz="2000" dirty="0" err="1">
                <a:solidFill>
                  <a:srgbClr val="32837D"/>
                </a:solidFill>
                <a:sym typeface="Wingdings" panose="05000000000000000000" pitchFamily="2" charset="2"/>
              </a:rPr>
              <a:t>all'application</a:t>
            </a:r>
            <a:r>
              <a:rPr lang="it-IT" sz="2000" dirty="0">
                <a:solidFill>
                  <a:srgbClr val="32837D"/>
                </a:solidFill>
                <a:sym typeface="Wingdings" panose="05000000000000000000" pitchFamily="2" charset="2"/>
              </a:rPr>
              <a:t>, coinvolgendo un solido partner tecnologico. </a:t>
            </a:r>
            <a:r>
              <a:rPr lang="it-IT" sz="2000" b="1" dirty="0">
                <a:solidFill>
                  <a:srgbClr val="32837D"/>
                </a:solidFill>
                <a:sym typeface="Wingdings" panose="05000000000000000000" pitchFamily="2" charset="2"/>
              </a:rPr>
              <a:t>Dimostrare l’innovazione anche oltre quanto già premiato a livello europeo.</a:t>
            </a:r>
            <a:endParaRPr lang="en-US" dirty="0"/>
          </a:p>
          <a:p>
            <a:pPr marL="342900" indent="-342900">
              <a:buFont typeface="+mj-lt"/>
              <a:buAutoNum type="arabicPeriod"/>
            </a:pPr>
            <a:endParaRPr lang="it-IT" sz="2000" b="1" dirty="0">
              <a:solidFill>
                <a:srgbClr val="32837D"/>
              </a:solidFill>
              <a:sym typeface="Wingdings" panose="05000000000000000000" pitchFamily="2" charset="2"/>
            </a:endParaRPr>
          </a:p>
          <a:p>
            <a:pPr marL="342900" indent="-342900">
              <a:buFont typeface="+mj-lt"/>
              <a:buAutoNum type="arabicPeriod"/>
            </a:pPr>
            <a:r>
              <a:rPr lang="it-IT" sz="2000" b="1" dirty="0">
                <a:solidFill>
                  <a:srgbClr val="32837D"/>
                </a:solidFill>
                <a:sym typeface="Wingdings" panose="05000000000000000000" pitchFamily="2" charset="2"/>
              </a:rPr>
              <a:t>Fornire evidenza dell’affidabilità di ogni ipotesi alla base del Business Plan </a:t>
            </a:r>
            <a:r>
              <a:rPr lang="it-IT" sz="2000" dirty="0">
                <a:solidFill>
                  <a:srgbClr val="32837D"/>
                </a:solidFill>
                <a:sym typeface="Wingdings" panose="05000000000000000000" pitchFamily="2" charset="2"/>
              </a:rPr>
              <a:t>(es. stime di mercato, preventivi fornitori, accordi preliminari...)</a:t>
            </a:r>
            <a:endParaRPr lang="it-IT" sz="2000" dirty="0">
              <a:solidFill>
                <a:srgbClr val="32837D"/>
              </a:solidFill>
            </a:endParaRPr>
          </a:p>
          <a:p>
            <a:pPr marL="342900" indent="-342900">
              <a:buFont typeface="+mj-lt"/>
              <a:buAutoNum type="arabicPeriod"/>
            </a:pPr>
            <a:endParaRPr lang="it-IT" sz="2000" b="1" dirty="0">
              <a:solidFill>
                <a:srgbClr val="32837D"/>
              </a:solidFill>
              <a:sym typeface="Wingdings" panose="05000000000000000000" pitchFamily="2" charset="2"/>
            </a:endParaRPr>
          </a:p>
          <a:p>
            <a:pPr marL="342900" indent="-342900">
              <a:buFont typeface="+mj-lt"/>
              <a:buAutoNum type="arabicPeriod"/>
            </a:pPr>
            <a:r>
              <a:rPr lang="it-IT" sz="2000" b="1" dirty="0">
                <a:solidFill>
                  <a:srgbClr val="32837D"/>
                </a:solidFill>
                <a:sym typeface="Wingdings" panose="05000000000000000000" pitchFamily="2" charset="2"/>
              </a:rPr>
              <a:t>Definire una struttura di PMO per la gestione della candidatura del progetto, verticale per ambito di attività </a:t>
            </a:r>
            <a:r>
              <a:rPr lang="it-IT" sz="2000" dirty="0">
                <a:solidFill>
                  <a:srgbClr val="32837D"/>
                </a:solidFill>
                <a:sym typeface="Wingdings" panose="05000000000000000000" pitchFamily="2" charset="2"/>
              </a:rPr>
              <a:t>(tecnica, economico-finanziaria, amministrativa e per l’ingaggio delle istituzioni). Fondamentale il supporto di un consulente strategico.</a:t>
            </a:r>
            <a:endParaRPr lang="it-IT" sz="2000" dirty="0">
              <a:solidFill>
                <a:srgbClr val="32837D"/>
              </a:solidFill>
            </a:endParaRPr>
          </a:p>
          <a:p>
            <a:pPr marL="342900" indent="-342900">
              <a:buFont typeface="+mj-lt"/>
              <a:buAutoNum type="arabicPeriod"/>
            </a:pPr>
            <a:endParaRPr lang="it-IT" sz="2000" b="1" dirty="0">
              <a:solidFill>
                <a:srgbClr val="32837D"/>
              </a:solidFill>
              <a:sym typeface="Wingdings" panose="05000000000000000000" pitchFamily="2" charset="2"/>
            </a:endParaRPr>
          </a:p>
          <a:p>
            <a:pPr marL="342900" indent="-342900">
              <a:buFont typeface="+mj-lt"/>
              <a:buAutoNum type="arabicPeriod"/>
            </a:pPr>
            <a:r>
              <a:rPr lang="it-IT" sz="2000" dirty="0">
                <a:solidFill>
                  <a:srgbClr val="32837D"/>
                </a:solidFill>
                <a:sym typeface="Wingdings" panose="05000000000000000000" pitchFamily="2" charset="2"/>
              </a:rPr>
              <a:t>Fondamentale assicurare la continuità operativa dei team di gestione del progetto attraverso le fasi di candidatura e definizione del Grant Agreement.</a:t>
            </a:r>
            <a:endParaRPr lang="it-IT" sz="2000" dirty="0">
              <a:solidFill>
                <a:srgbClr val="32837D"/>
              </a:solidFill>
            </a:endParaRPr>
          </a:p>
          <a:p>
            <a:pPr marL="342900" indent="-342900">
              <a:buAutoNum type="arabicPeriod"/>
            </a:pPr>
            <a:endParaRPr lang="it-IT" sz="2000" b="1" dirty="0">
              <a:solidFill>
                <a:srgbClr val="32837D"/>
              </a:solidFill>
            </a:endParaRPr>
          </a:p>
          <a:p>
            <a:pPr marL="342900" indent="-342900">
              <a:buAutoNum type="arabicPeriod"/>
            </a:pPr>
            <a:r>
              <a:rPr lang="it-IT" sz="2000" dirty="0">
                <a:solidFill>
                  <a:srgbClr val="32837D"/>
                </a:solidFill>
              </a:rPr>
              <a:t>Essere consapevoli… e rendere consapevole l’Alta Direzione, </a:t>
            </a:r>
            <a:r>
              <a:rPr lang="it-IT" sz="2000" b="1" dirty="0">
                <a:solidFill>
                  <a:srgbClr val="32837D"/>
                </a:solidFill>
              </a:rPr>
              <a:t>dell'elevato impegno di risorse </a:t>
            </a:r>
            <a:r>
              <a:rPr lang="it-IT" sz="2000" dirty="0">
                <a:solidFill>
                  <a:srgbClr val="32837D"/>
                </a:solidFill>
              </a:rPr>
              <a:t>necessario per una candidatura efficace.</a:t>
            </a:r>
          </a:p>
        </p:txBody>
      </p:sp>
    </p:spTree>
    <p:extLst>
      <p:ext uri="{BB962C8B-B14F-4D97-AF65-F5344CB8AC3E}">
        <p14:creationId xmlns:p14="http://schemas.microsoft.com/office/powerpoint/2010/main" val="3212459955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0F18E00-1159-FFD2-5FDC-D644CA5A52A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asellaDiTesto 14">
            <a:extLst>
              <a:ext uri="{FF2B5EF4-FFF2-40B4-BE49-F238E27FC236}">
                <a16:creationId xmlns:a16="http://schemas.microsoft.com/office/drawing/2014/main" id="{8E677EE4-857F-08FE-CA04-055CDE2C275E}"/>
              </a:ext>
            </a:extLst>
          </p:cNvPr>
          <p:cNvSpPr txBox="1"/>
          <p:nvPr/>
        </p:nvSpPr>
        <p:spPr>
          <a:xfrm>
            <a:off x="875472" y="1126381"/>
            <a:ext cx="10004195" cy="193899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it-IT" sz="6000" dirty="0">
                <a:solidFill>
                  <a:srgbClr val="32837D"/>
                </a:solidFill>
                <a:latin typeface="Bahnschrift Light SemiCondensed" panose="020B0502040204020203" pitchFamily="34" charset="0"/>
                <a:sym typeface="Wingdings" panose="05000000000000000000" pitchFamily="2" charset="2"/>
              </a:rPr>
              <a:t>5.</a:t>
            </a:r>
          </a:p>
          <a:p>
            <a:r>
              <a:rPr lang="it-IT" sz="6000" dirty="0">
                <a:solidFill>
                  <a:srgbClr val="32837D"/>
                </a:solidFill>
                <a:latin typeface="Bahnschrift Light SemiCondensed" panose="020B0502040204020203" pitchFamily="34" charset="0"/>
                <a:sym typeface="Wingdings" panose="05000000000000000000" pitchFamily="2" charset="2"/>
              </a:rPr>
              <a:t>Timeline di progetto</a:t>
            </a:r>
          </a:p>
        </p:txBody>
      </p:sp>
    </p:spTree>
    <p:extLst>
      <p:ext uri="{BB962C8B-B14F-4D97-AF65-F5344CB8AC3E}">
        <p14:creationId xmlns:p14="http://schemas.microsoft.com/office/powerpoint/2010/main" val="1793690467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asellaDiTesto 1">
            <a:extLst>
              <a:ext uri="{FF2B5EF4-FFF2-40B4-BE49-F238E27FC236}">
                <a16:creationId xmlns:a16="http://schemas.microsoft.com/office/drawing/2014/main" id="{45466147-F2F6-5D25-904D-C897C4681EF1}"/>
              </a:ext>
            </a:extLst>
          </p:cNvPr>
          <p:cNvSpPr txBox="1"/>
          <p:nvPr/>
        </p:nvSpPr>
        <p:spPr>
          <a:xfrm>
            <a:off x="202462" y="124130"/>
            <a:ext cx="582911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3200" dirty="0">
                <a:solidFill>
                  <a:srgbClr val="30636E"/>
                </a:solidFill>
                <a:latin typeface="Bahnschrift Light SemiCondensed" panose="020B0502040204020203" pitchFamily="34" charset="0"/>
              </a:rPr>
              <a:t>Timeline di progetto</a:t>
            </a:r>
          </a:p>
        </p:txBody>
      </p:sp>
      <p:cxnSp>
        <p:nvCxnSpPr>
          <p:cNvPr id="113" name="Straight Connector 2">
            <a:extLst>
              <a:ext uri="{FF2B5EF4-FFF2-40B4-BE49-F238E27FC236}">
                <a16:creationId xmlns:a16="http://schemas.microsoft.com/office/drawing/2014/main" id="{3C9B5436-8703-ED5B-CDAC-9EF1139977FE}"/>
              </a:ext>
            </a:extLst>
          </p:cNvPr>
          <p:cNvCxnSpPr>
            <a:cxnSpLocks/>
          </p:cNvCxnSpPr>
          <p:nvPr/>
        </p:nvCxnSpPr>
        <p:spPr>
          <a:xfrm flipH="1">
            <a:off x="647700" y="2168432"/>
            <a:ext cx="11191875" cy="0"/>
          </a:xfrm>
          <a:prstGeom prst="line">
            <a:avLst/>
          </a:prstGeom>
          <a:ln w="19050" cap="rnd" cmpd="sng" algn="ctr">
            <a:solidFill>
              <a:srgbClr val="009670"/>
            </a:solidFill>
            <a:prstDash val="solid"/>
            <a:round/>
            <a:headEnd type="arrow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4" name="Straight Connector 19">
            <a:extLst>
              <a:ext uri="{FF2B5EF4-FFF2-40B4-BE49-F238E27FC236}">
                <a16:creationId xmlns:a16="http://schemas.microsoft.com/office/drawing/2014/main" id="{0EC2E917-A8A6-B5A0-96E5-30F7819D33CC}"/>
              </a:ext>
            </a:extLst>
          </p:cNvPr>
          <p:cNvCxnSpPr>
            <a:cxnSpLocks/>
          </p:cNvCxnSpPr>
          <p:nvPr/>
        </p:nvCxnSpPr>
        <p:spPr>
          <a:xfrm>
            <a:off x="2865774" y="1933955"/>
            <a:ext cx="0" cy="468955"/>
          </a:xfrm>
          <a:prstGeom prst="line">
            <a:avLst/>
          </a:prstGeom>
          <a:ln w="9525" cap="rnd">
            <a:solidFill>
              <a:srgbClr val="9A9A9A"/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5" name="Straight Connector 20">
            <a:extLst>
              <a:ext uri="{FF2B5EF4-FFF2-40B4-BE49-F238E27FC236}">
                <a16:creationId xmlns:a16="http://schemas.microsoft.com/office/drawing/2014/main" id="{5A9E60DC-C741-7C10-4CF8-DEDA837C8690}"/>
              </a:ext>
            </a:extLst>
          </p:cNvPr>
          <p:cNvCxnSpPr>
            <a:cxnSpLocks/>
          </p:cNvCxnSpPr>
          <p:nvPr/>
        </p:nvCxnSpPr>
        <p:spPr>
          <a:xfrm>
            <a:off x="7399744" y="1933955"/>
            <a:ext cx="0" cy="468955"/>
          </a:xfrm>
          <a:prstGeom prst="line">
            <a:avLst/>
          </a:prstGeom>
          <a:ln w="9525" cap="rnd">
            <a:solidFill>
              <a:srgbClr val="9A9A9A"/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6" name="TextBox 14">
            <a:extLst>
              <a:ext uri="{FF2B5EF4-FFF2-40B4-BE49-F238E27FC236}">
                <a16:creationId xmlns:a16="http://schemas.microsoft.com/office/drawing/2014/main" id="{5E4BB46B-8ED4-B265-DFDF-0A5E3A48F7A6}"/>
              </a:ext>
            </a:extLst>
          </p:cNvPr>
          <p:cNvSpPr txBox="1"/>
          <p:nvPr/>
        </p:nvSpPr>
        <p:spPr>
          <a:xfrm>
            <a:off x="2246348" y="2322897"/>
            <a:ext cx="1239218" cy="461665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49FB2"/>
              </a:buClr>
              <a:buSzTx/>
              <a:buFont typeface="Trebuchet MS" panose="020B0603020202020204" pitchFamily="34" charset="0"/>
              <a:buChar char="​"/>
              <a:tabLst/>
              <a:defRPr/>
            </a:pPr>
            <a:r>
              <a:rPr kumimoji="0" lang="it-IT" sz="1200" b="1" i="0" u="none" strike="noStrike" kern="1200" cap="none" spc="0" normalizeH="0" baseline="0">
                <a:ln>
                  <a:noFill/>
                </a:ln>
                <a:solidFill>
                  <a:srgbClr val="30636E"/>
                </a:solidFill>
                <a:effectLst/>
                <a:uLnTx/>
                <a:uFillTx/>
                <a:latin typeface="Bahnschrift Light SemiCondensed"/>
                <a:ea typeface="+mn-ea"/>
                <a:cs typeface="+mn-cs"/>
              </a:rPr>
              <a:t>Novembre 2024–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49FB2"/>
              </a:buClr>
              <a:buSzTx/>
              <a:buFont typeface="Trebuchet MS" panose="020B0603020202020204" pitchFamily="34" charset="0"/>
              <a:buChar char="​"/>
              <a:tabLst/>
              <a:defRPr/>
            </a:pPr>
            <a:r>
              <a:rPr kumimoji="0" lang="it-IT" sz="1200" b="1" i="0" u="none" strike="noStrike" kern="1200" cap="none" spc="0" normalizeH="0" baseline="0">
                <a:ln>
                  <a:noFill/>
                </a:ln>
                <a:solidFill>
                  <a:srgbClr val="30636E"/>
                </a:solidFill>
                <a:effectLst/>
                <a:uLnTx/>
                <a:uFillTx/>
                <a:latin typeface="Bahnschrift Light SemiCondensed"/>
                <a:ea typeface="+mn-ea"/>
                <a:cs typeface="+mn-cs"/>
              </a:rPr>
              <a:t>Febbraio 2025</a:t>
            </a:r>
          </a:p>
        </p:txBody>
      </p:sp>
      <p:sp>
        <p:nvSpPr>
          <p:cNvPr id="117" name="TextBox 15">
            <a:extLst>
              <a:ext uri="{FF2B5EF4-FFF2-40B4-BE49-F238E27FC236}">
                <a16:creationId xmlns:a16="http://schemas.microsoft.com/office/drawing/2014/main" id="{147CDE52-FA8F-0617-DB0E-855236CF12CC}"/>
              </a:ext>
            </a:extLst>
          </p:cNvPr>
          <p:cNvSpPr txBox="1"/>
          <p:nvPr/>
        </p:nvSpPr>
        <p:spPr>
          <a:xfrm>
            <a:off x="10108660" y="1478087"/>
            <a:ext cx="1650521" cy="461665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49FB2"/>
              </a:buClr>
              <a:buSzTx/>
              <a:buFont typeface="Trebuchet MS" panose="020B0603020202020204" pitchFamily="34" charset="0"/>
              <a:buChar char="​"/>
              <a:tabLst/>
              <a:defRPr/>
            </a:pPr>
            <a:r>
              <a:rPr kumimoji="0" lang="it-IT" sz="1200" i="0" u="none" strike="noStrike" kern="1200" cap="none" spc="0" normalizeH="0" baseline="0">
                <a:ln>
                  <a:noFill/>
                </a:ln>
                <a:solidFill>
                  <a:srgbClr val="009670"/>
                </a:solidFill>
                <a:effectLst/>
                <a:uLnTx/>
                <a:uFillTx/>
                <a:latin typeface="Bahnschrift Light SemiCondensed"/>
                <a:ea typeface="+mn-ea"/>
                <a:cs typeface="+mn-cs"/>
              </a:rPr>
              <a:t>Inizio operatività impianto</a:t>
            </a:r>
          </a:p>
        </p:txBody>
      </p:sp>
      <p:sp>
        <p:nvSpPr>
          <p:cNvPr id="118" name="TextBox 23">
            <a:extLst>
              <a:ext uri="{FF2B5EF4-FFF2-40B4-BE49-F238E27FC236}">
                <a16:creationId xmlns:a16="http://schemas.microsoft.com/office/drawing/2014/main" id="{22E58F97-6ACF-0D8E-D96E-36578BB13DBB}"/>
              </a:ext>
            </a:extLst>
          </p:cNvPr>
          <p:cNvSpPr txBox="1"/>
          <p:nvPr/>
        </p:nvSpPr>
        <p:spPr>
          <a:xfrm>
            <a:off x="6681798" y="2415230"/>
            <a:ext cx="1435891" cy="276999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49FB2"/>
              </a:buClr>
              <a:buSzTx/>
              <a:buFont typeface="Trebuchet MS" panose="020B0603020202020204" pitchFamily="34" charset="0"/>
              <a:buChar char="​"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30636E"/>
                </a:solidFill>
                <a:effectLst/>
                <a:uLnTx/>
                <a:uFillTx/>
                <a:latin typeface="Bahnschrift Light SemiCondensed"/>
                <a:ea typeface="+mn-ea"/>
                <a:cs typeface="+mn-cs"/>
              </a:rPr>
              <a:t>Q1 2027</a:t>
            </a:r>
          </a:p>
        </p:txBody>
      </p:sp>
      <p:sp>
        <p:nvSpPr>
          <p:cNvPr id="119" name="TextBox 25">
            <a:extLst>
              <a:ext uri="{FF2B5EF4-FFF2-40B4-BE49-F238E27FC236}">
                <a16:creationId xmlns:a16="http://schemas.microsoft.com/office/drawing/2014/main" id="{E1888918-EEC7-3373-6E1D-EA8F9CFBBBB1}"/>
              </a:ext>
            </a:extLst>
          </p:cNvPr>
          <p:cNvSpPr txBox="1"/>
          <p:nvPr/>
        </p:nvSpPr>
        <p:spPr>
          <a:xfrm>
            <a:off x="890493" y="2415230"/>
            <a:ext cx="1435891" cy="276999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49FB2"/>
              </a:buClr>
              <a:buSzTx/>
              <a:buFont typeface="Trebuchet MS" panose="020B0603020202020204" pitchFamily="34" charset="0"/>
              <a:buChar char="​"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30636E"/>
                </a:solidFill>
                <a:effectLst/>
                <a:uLnTx/>
                <a:uFillTx/>
                <a:latin typeface="Bahnschrift Light SemiCondensed"/>
                <a:ea typeface="+mn-ea"/>
                <a:cs typeface="+mn-cs"/>
              </a:rPr>
              <a:t>Aprile 2024</a:t>
            </a:r>
          </a:p>
        </p:txBody>
      </p:sp>
      <p:sp>
        <p:nvSpPr>
          <p:cNvPr id="120" name="TextBox 32">
            <a:extLst>
              <a:ext uri="{FF2B5EF4-FFF2-40B4-BE49-F238E27FC236}">
                <a16:creationId xmlns:a16="http://schemas.microsoft.com/office/drawing/2014/main" id="{4CB92888-AD05-FB82-AC6F-0AD65A93294F}"/>
              </a:ext>
            </a:extLst>
          </p:cNvPr>
          <p:cNvSpPr txBox="1"/>
          <p:nvPr/>
        </p:nvSpPr>
        <p:spPr>
          <a:xfrm>
            <a:off x="1989744" y="1291830"/>
            <a:ext cx="1752060" cy="646331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49FB2"/>
              </a:buClr>
              <a:buSzTx/>
              <a:buFont typeface="Trebuchet MS" panose="020B0603020202020204" pitchFamily="34" charset="0"/>
              <a:buChar char="​"/>
              <a:tabLst/>
              <a:defRPr/>
            </a:pPr>
            <a:r>
              <a:rPr kumimoji="0" lang="it-IT" sz="1200" b="0" i="0" u="none" strike="noStrike" kern="1200" cap="none" spc="0" normalizeH="0" baseline="0">
                <a:ln>
                  <a:noFill/>
                </a:ln>
                <a:solidFill>
                  <a:srgbClr val="009670"/>
                </a:solidFill>
                <a:effectLst/>
                <a:uLnTx/>
                <a:uFillTx/>
                <a:latin typeface="Bahnschrift Light SemiCondensed"/>
                <a:ea typeface="+mn-ea"/>
                <a:cs typeface="+mn-cs"/>
              </a:rPr>
              <a:t>Risultati EU IF e firma dell'accordo di finanziamento</a:t>
            </a:r>
          </a:p>
        </p:txBody>
      </p:sp>
      <p:sp>
        <p:nvSpPr>
          <p:cNvPr id="121" name="TextBox 33">
            <a:extLst>
              <a:ext uri="{FF2B5EF4-FFF2-40B4-BE49-F238E27FC236}">
                <a16:creationId xmlns:a16="http://schemas.microsoft.com/office/drawing/2014/main" id="{D77FD6E2-F9B6-7261-9BB4-970AE55F4200}"/>
              </a:ext>
            </a:extLst>
          </p:cNvPr>
          <p:cNvSpPr txBox="1"/>
          <p:nvPr/>
        </p:nvSpPr>
        <p:spPr>
          <a:xfrm>
            <a:off x="6733125" y="1461328"/>
            <a:ext cx="1333236" cy="461665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49FB2"/>
              </a:buClr>
              <a:buSzTx/>
              <a:buFont typeface="Trebuchet MS" panose="020B0603020202020204" pitchFamily="34" charset="0"/>
              <a:buChar char="​"/>
              <a:tabLst/>
              <a:defRPr/>
            </a:pPr>
            <a:r>
              <a:rPr lang="en-US" sz="1200" dirty="0" err="1">
                <a:solidFill>
                  <a:srgbClr val="009670"/>
                </a:solidFill>
                <a:latin typeface="Bahnschrift Light SemiCondensed"/>
              </a:rPr>
              <a:t>Decisione</a:t>
            </a:r>
            <a:r>
              <a:rPr lang="en-US" sz="1200" dirty="0">
                <a:solidFill>
                  <a:srgbClr val="009670"/>
                </a:solidFill>
                <a:latin typeface="Bahnschrift Light SemiCondensed"/>
              </a:rPr>
              <a:t> Finale di Investimento (FID)</a:t>
            </a:r>
          </a:p>
        </p:txBody>
      </p:sp>
      <p:sp>
        <p:nvSpPr>
          <p:cNvPr id="122" name="TextBox 34">
            <a:extLst>
              <a:ext uri="{FF2B5EF4-FFF2-40B4-BE49-F238E27FC236}">
                <a16:creationId xmlns:a16="http://schemas.microsoft.com/office/drawing/2014/main" id="{F81BE083-07BA-FCDC-288D-EF634CECD5AF}"/>
              </a:ext>
            </a:extLst>
          </p:cNvPr>
          <p:cNvSpPr txBox="1"/>
          <p:nvPr/>
        </p:nvSpPr>
        <p:spPr>
          <a:xfrm>
            <a:off x="10323290" y="2567630"/>
            <a:ext cx="1435891" cy="276999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49FB2"/>
              </a:buClr>
              <a:buSzTx/>
              <a:buFont typeface="Trebuchet MS" panose="020B0603020202020204" pitchFamily="34" charset="0"/>
              <a:buChar char="​"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30636E"/>
                </a:solidFill>
                <a:effectLst/>
                <a:uLnTx/>
                <a:uFillTx/>
                <a:latin typeface="Bahnschrift Light SemiCondensed"/>
                <a:ea typeface="+mn-ea"/>
                <a:cs typeface="+mn-cs"/>
              </a:rPr>
              <a:t>Q4 2028</a:t>
            </a:r>
          </a:p>
        </p:txBody>
      </p:sp>
      <p:sp>
        <p:nvSpPr>
          <p:cNvPr id="123" name="TextBox 35">
            <a:extLst>
              <a:ext uri="{FF2B5EF4-FFF2-40B4-BE49-F238E27FC236}">
                <a16:creationId xmlns:a16="http://schemas.microsoft.com/office/drawing/2014/main" id="{71EA48D9-9B4B-E170-D209-77CB776BCA4D}"/>
              </a:ext>
            </a:extLst>
          </p:cNvPr>
          <p:cNvSpPr txBox="1"/>
          <p:nvPr/>
        </p:nvSpPr>
        <p:spPr>
          <a:xfrm>
            <a:off x="732408" y="1431957"/>
            <a:ext cx="1752060" cy="461665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49FB2"/>
              </a:buClr>
              <a:buSzTx/>
              <a:buFont typeface="Trebuchet MS" panose="020B0603020202020204" pitchFamily="34" charset="0"/>
              <a:buChar char="​"/>
              <a:tabLst/>
              <a:defRPr/>
            </a:pPr>
            <a:r>
              <a:rPr kumimoji="0" lang="it-IT" sz="1200" b="0" i="0" u="none" strike="noStrike" kern="1200" cap="none" spc="0" normalizeH="0" baseline="0">
                <a:ln>
                  <a:noFill/>
                </a:ln>
                <a:solidFill>
                  <a:srgbClr val="009670"/>
                </a:solidFill>
                <a:effectLst/>
                <a:uLnTx/>
                <a:uFillTx/>
                <a:latin typeface="Bahnschrift Light SemiCondensed"/>
                <a:ea typeface="+mn-ea"/>
                <a:cs typeface="+mn-cs"/>
              </a:rPr>
              <a:t>Sottomissione della domanda all' EU IF</a:t>
            </a:r>
          </a:p>
        </p:txBody>
      </p:sp>
      <p:cxnSp>
        <p:nvCxnSpPr>
          <p:cNvPr id="124" name="Straight Connector 37">
            <a:extLst>
              <a:ext uri="{FF2B5EF4-FFF2-40B4-BE49-F238E27FC236}">
                <a16:creationId xmlns:a16="http://schemas.microsoft.com/office/drawing/2014/main" id="{5399F3CC-A53F-231C-E096-6EE99B0C6CCC}"/>
              </a:ext>
            </a:extLst>
          </p:cNvPr>
          <p:cNvCxnSpPr>
            <a:cxnSpLocks/>
            <a:stCxn id="117" idx="3"/>
          </p:cNvCxnSpPr>
          <p:nvPr/>
        </p:nvCxnSpPr>
        <p:spPr>
          <a:xfrm flipH="1">
            <a:off x="11692506" y="1708920"/>
            <a:ext cx="0" cy="997210"/>
          </a:xfrm>
          <a:prstGeom prst="line">
            <a:avLst/>
          </a:prstGeom>
          <a:ln w="9525" cap="rnd">
            <a:solidFill>
              <a:srgbClr val="9A9A9A"/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5" name="Straight Connector 38">
            <a:extLst>
              <a:ext uri="{FF2B5EF4-FFF2-40B4-BE49-F238E27FC236}">
                <a16:creationId xmlns:a16="http://schemas.microsoft.com/office/drawing/2014/main" id="{CB18034D-7E7C-73EA-CE09-4FA9FBE4D5E5}"/>
              </a:ext>
            </a:extLst>
          </p:cNvPr>
          <p:cNvCxnSpPr>
            <a:cxnSpLocks/>
          </p:cNvCxnSpPr>
          <p:nvPr/>
        </p:nvCxnSpPr>
        <p:spPr>
          <a:xfrm>
            <a:off x="1608439" y="1933955"/>
            <a:ext cx="0" cy="468955"/>
          </a:xfrm>
          <a:prstGeom prst="line">
            <a:avLst/>
          </a:prstGeom>
          <a:ln w="9525" cap="rnd">
            <a:solidFill>
              <a:srgbClr val="9A9A9A"/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7" name="TextBox 127">
            <a:extLst>
              <a:ext uri="{FF2B5EF4-FFF2-40B4-BE49-F238E27FC236}">
                <a16:creationId xmlns:a16="http://schemas.microsoft.com/office/drawing/2014/main" id="{18F30AC0-592C-BDE0-694C-1C22FC825926}"/>
              </a:ext>
            </a:extLst>
          </p:cNvPr>
          <p:cNvSpPr txBox="1"/>
          <p:nvPr/>
        </p:nvSpPr>
        <p:spPr>
          <a:xfrm>
            <a:off x="4634844" y="1483880"/>
            <a:ext cx="1435891" cy="461665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49FB2"/>
              </a:buClr>
              <a:buSzTx/>
              <a:buFont typeface="Trebuchet MS" panose="020B0603020202020204" pitchFamily="34" charset="0"/>
              <a:buChar char="​"/>
              <a:tabLst/>
              <a:defRPr/>
            </a:pPr>
            <a:r>
              <a:rPr lang="it-IT" sz="1200" dirty="0">
                <a:solidFill>
                  <a:srgbClr val="009670"/>
                </a:solidFill>
                <a:latin typeface="Bahnschrift Light SemiCondensed"/>
              </a:rPr>
              <a:t>Completamento del FEED</a:t>
            </a:r>
            <a:endParaRPr kumimoji="0" lang="it-IT" sz="1200" b="0" i="0" u="none" strike="noStrike" kern="1200" cap="none" spc="0" normalizeH="0" baseline="0" dirty="0">
              <a:ln>
                <a:noFill/>
              </a:ln>
              <a:solidFill>
                <a:srgbClr val="009670"/>
              </a:solidFill>
              <a:effectLst/>
              <a:uLnTx/>
              <a:uFillTx/>
              <a:latin typeface="Bahnschrift Light SemiCondensed"/>
              <a:ea typeface="+mn-ea"/>
              <a:cs typeface="+mn-cs"/>
            </a:endParaRPr>
          </a:p>
        </p:txBody>
      </p:sp>
      <p:cxnSp>
        <p:nvCxnSpPr>
          <p:cNvPr id="128" name="Straight Connector 128">
            <a:extLst>
              <a:ext uri="{FF2B5EF4-FFF2-40B4-BE49-F238E27FC236}">
                <a16:creationId xmlns:a16="http://schemas.microsoft.com/office/drawing/2014/main" id="{280AFA78-BB47-9678-0240-4D90E1D4068B}"/>
              </a:ext>
            </a:extLst>
          </p:cNvPr>
          <p:cNvCxnSpPr>
            <a:cxnSpLocks/>
          </p:cNvCxnSpPr>
          <p:nvPr/>
        </p:nvCxnSpPr>
        <p:spPr>
          <a:xfrm>
            <a:off x="4852258" y="1933955"/>
            <a:ext cx="0" cy="468955"/>
          </a:xfrm>
          <a:prstGeom prst="line">
            <a:avLst/>
          </a:prstGeom>
          <a:ln w="9525" cap="rnd">
            <a:solidFill>
              <a:srgbClr val="9A9A9A"/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9" name="TextBox 129">
            <a:extLst>
              <a:ext uri="{FF2B5EF4-FFF2-40B4-BE49-F238E27FC236}">
                <a16:creationId xmlns:a16="http://schemas.microsoft.com/office/drawing/2014/main" id="{4DC86AAA-0640-C4A5-BBD2-21E242316A3D}"/>
              </a:ext>
            </a:extLst>
          </p:cNvPr>
          <p:cNvSpPr txBox="1"/>
          <p:nvPr/>
        </p:nvSpPr>
        <p:spPr>
          <a:xfrm>
            <a:off x="4273387" y="2416314"/>
            <a:ext cx="1435891" cy="276999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49FB2"/>
              </a:buClr>
              <a:buSzTx/>
              <a:buFont typeface="Trebuchet MS" panose="020B0603020202020204" pitchFamily="34" charset="0"/>
              <a:buChar char="​"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30636E"/>
                </a:solidFill>
                <a:effectLst/>
                <a:uLnTx/>
                <a:uFillTx/>
                <a:latin typeface="Bahnschrift Light SemiCondensed"/>
                <a:ea typeface="+mn-ea"/>
                <a:cs typeface="+mn-cs"/>
              </a:rPr>
              <a:t>Q2 2026</a:t>
            </a:r>
          </a:p>
        </p:txBody>
      </p:sp>
      <p:sp>
        <p:nvSpPr>
          <p:cNvPr id="5" name="Rettangolo con un angolo in alto arrotondato e l'altro ritagliato 4">
            <a:extLst>
              <a:ext uri="{FF2B5EF4-FFF2-40B4-BE49-F238E27FC236}">
                <a16:creationId xmlns:a16="http://schemas.microsoft.com/office/drawing/2014/main" id="{64A2C53E-ABD0-D1B2-0E30-DF0C6F8FEEC6}"/>
              </a:ext>
            </a:extLst>
          </p:cNvPr>
          <p:cNvSpPr/>
          <p:nvPr/>
        </p:nvSpPr>
        <p:spPr>
          <a:xfrm>
            <a:off x="552635" y="1291830"/>
            <a:ext cx="11286940" cy="1814210"/>
          </a:xfrm>
          <a:prstGeom prst="snipRoundRect">
            <a:avLst/>
          </a:prstGeom>
          <a:noFill/>
          <a:ln>
            <a:solidFill>
              <a:srgbClr val="30636E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6" name="TextBox 127">
            <a:extLst>
              <a:ext uri="{FF2B5EF4-FFF2-40B4-BE49-F238E27FC236}">
                <a16:creationId xmlns:a16="http://schemas.microsoft.com/office/drawing/2014/main" id="{7B280DD0-1A47-7DB0-ADD5-6C4CD890E6A2}"/>
              </a:ext>
            </a:extLst>
          </p:cNvPr>
          <p:cNvSpPr txBox="1"/>
          <p:nvPr/>
        </p:nvSpPr>
        <p:spPr>
          <a:xfrm>
            <a:off x="3214761" y="1509936"/>
            <a:ext cx="1435891" cy="461665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49FB2"/>
              </a:buClr>
              <a:buSzTx/>
              <a:buFont typeface="Trebuchet MS" panose="020B0603020202020204" pitchFamily="34" charset="0"/>
              <a:buChar char="​"/>
              <a:tabLst/>
              <a:defRPr/>
            </a:pPr>
            <a:r>
              <a:rPr lang="it-IT" sz="1200">
                <a:solidFill>
                  <a:srgbClr val="009670"/>
                </a:solidFill>
                <a:latin typeface="Bahnschrift Light SemiCondensed"/>
              </a:rPr>
              <a:t>Procedura di VIA ministeriale</a:t>
            </a:r>
            <a:endParaRPr kumimoji="0" lang="it-IT" sz="1200" b="0" i="0" u="none" strike="noStrike" kern="1200" cap="none" spc="0" normalizeH="0" baseline="0">
              <a:ln>
                <a:noFill/>
              </a:ln>
              <a:solidFill>
                <a:srgbClr val="009670"/>
              </a:solidFill>
              <a:effectLst/>
              <a:uLnTx/>
              <a:uFillTx/>
              <a:latin typeface="Bahnschrift Light SemiCondensed"/>
              <a:ea typeface="+mn-ea"/>
              <a:cs typeface="+mn-cs"/>
            </a:endParaRPr>
          </a:p>
        </p:txBody>
      </p:sp>
      <p:cxnSp>
        <p:nvCxnSpPr>
          <p:cNvPr id="7" name="Straight Connector 128">
            <a:extLst>
              <a:ext uri="{FF2B5EF4-FFF2-40B4-BE49-F238E27FC236}">
                <a16:creationId xmlns:a16="http://schemas.microsoft.com/office/drawing/2014/main" id="{17455C1B-37CC-4523-C343-5B22FC17A478}"/>
              </a:ext>
            </a:extLst>
          </p:cNvPr>
          <p:cNvCxnSpPr>
            <a:cxnSpLocks/>
          </p:cNvCxnSpPr>
          <p:nvPr/>
        </p:nvCxnSpPr>
        <p:spPr>
          <a:xfrm>
            <a:off x="3932990" y="1930907"/>
            <a:ext cx="0" cy="468955"/>
          </a:xfrm>
          <a:prstGeom prst="line">
            <a:avLst/>
          </a:prstGeom>
          <a:ln w="9525" cap="rnd">
            <a:solidFill>
              <a:srgbClr val="9A9A9A"/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Box 129">
            <a:extLst>
              <a:ext uri="{FF2B5EF4-FFF2-40B4-BE49-F238E27FC236}">
                <a16:creationId xmlns:a16="http://schemas.microsoft.com/office/drawing/2014/main" id="{B577EEEF-E80D-8FEC-580D-A1FA155D0D56}"/>
              </a:ext>
            </a:extLst>
          </p:cNvPr>
          <p:cNvSpPr txBox="1"/>
          <p:nvPr/>
        </p:nvSpPr>
        <p:spPr>
          <a:xfrm>
            <a:off x="3754782" y="2420655"/>
            <a:ext cx="768138" cy="276999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49FB2"/>
              </a:buClr>
              <a:buSzTx/>
              <a:buFont typeface="Trebuchet MS" panose="020B0603020202020204" pitchFamily="34" charset="0"/>
              <a:buChar char="​"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30636E"/>
                </a:solidFill>
                <a:effectLst/>
                <a:uLnTx/>
                <a:uFillTx/>
                <a:latin typeface="Bahnschrift Light SemiCondensed"/>
                <a:ea typeface="+mn-ea"/>
                <a:cs typeface="+mn-cs"/>
              </a:rPr>
              <a:t>Q1 2025</a:t>
            </a:r>
          </a:p>
        </p:txBody>
      </p:sp>
      <p:sp>
        <p:nvSpPr>
          <p:cNvPr id="16" name="CasellaDiTesto 15">
            <a:extLst>
              <a:ext uri="{FF2B5EF4-FFF2-40B4-BE49-F238E27FC236}">
                <a16:creationId xmlns:a16="http://schemas.microsoft.com/office/drawing/2014/main" id="{45122745-023D-9FE1-B80F-60DC2A4C2B81}"/>
              </a:ext>
            </a:extLst>
          </p:cNvPr>
          <p:cNvSpPr txBox="1"/>
          <p:nvPr/>
        </p:nvSpPr>
        <p:spPr>
          <a:xfrm>
            <a:off x="540131" y="3324146"/>
            <a:ext cx="582911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b="1">
                <a:solidFill>
                  <a:srgbClr val="009670"/>
                </a:solidFill>
                <a:latin typeface="Trebuchet MS" panose="020B0603020202020204" pitchFamily="34" charset="0"/>
              </a:rPr>
              <a:t>CRONO DI PROGETTO</a:t>
            </a:r>
          </a:p>
        </p:txBody>
      </p:sp>
      <p:sp>
        <p:nvSpPr>
          <p:cNvPr id="17" name="CasellaDiTesto 16">
            <a:extLst>
              <a:ext uri="{FF2B5EF4-FFF2-40B4-BE49-F238E27FC236}">
                <a16:creationId xmlns:a16="http://schemas.microsoft.com/office/drawing/2014/main" id="{A8E8FB92-6B98-D30E-216E-8ECFF2B80406}"/>
              </a:ext>
            </a:extLst>
          </p:cNvPr>
          <p:cNvSpPr txBox="1"/>
          <p:nvPr/>
        </p:nvSpPr>
        <p:spPr>
          <a:xfrm>
            <a:off x="3592509" y="5989607"/>
            <a:ext cx="159105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1400" dirty="0">
                <a:solidFill>
                  <a:srgbClr val="FF0000"/>
                </a:solidFill>
              </a:rPr>
              <a:t>Stato delle attività</a:t>
            </a:r>
          </a:p>
        </p:txBody>
      </p:sp>
      <p:sp>
        <p:nvSpPr>
          <p:cNvPr id="9" name="Rectangle 56">
            <a:extLst>
              <a:ext uri="{FF2B5EF4-FFF2-40B4-BE49-F238E27FC236}">
                <a16:creationId xmlns:a16="http://schemas.microsoft.com/office/drawing/2014/main" id="{AEBCB8E4-E152-61E6-D3D5-D56BB0AAFA5C}"/>
              </a:ext>
            </a:extLst>
          </p:cNvPr>
          <p:cNvSpPr/>
          <p:nvPr/>
        </p:nvSpPr>
        <p:spPr>
          <a:xfrm>
            <a:off x="4718723" y="2727117"/>
            <a:ext cx="2286859" cy="813777"/>
          </a:xfrm>
          <a:prstGeom prst="rect">
            <a:avLst/>
          </a:prstGeom>
          <a:solidFill>
            <a:sysClr val="window" lastClr="FFFFFF"/>
          </a:solidFill>
          <a:ln w="19050" cap="rnd" cmpd="sng" algn="ctr">
            <a:solidFill>
              <a:srgbClr val="74C2AD"/>
            </a:solidFill>
            <a:prstDash val="solid"/>
          </a:ln>
          <a:effectLst/>
        </p:spPr>
        <p:txBody>
          <a:bodyPr lIns="72000" rIns="72000" rtlCol="0" anchor="ctr" anchorCtr="0"/>
          <a:lstStyle/>
          <a:p>
            <a:pPr marL="171450" lvl="1" indent="-171450">
              <a:buClr>
                <a:srgbClr val="30636E"/>
              </a:buClr>
              <a:buFont typeface="Wingdings" panose="05000000000000000000" pitchFamily="2" charset="2"/>
              <a:buChar char="ü"/>
              <a:defRPr/>
            </a:pPr>
            <a:r>
              <a:rPr kumimoji="0" lang="it-IT" sz="1200" b="0" i="0" u="none" strike="noStrike" cap="none" spc="0" normalizeH="0" baseline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Bahnschrift Light SemiCondensed"/>
                <a:ea typeface="+mn-ea"/>
                <a:cs typeface="+mn-cs"/>
              </a:rPr>
              <a:t>Presentata Istanza per procedura di VIA ministeriale</a:t>
            </a:r>
          </a:p>
          <a:p>
            <a:pPr marL="171450" lvl="1" indent="-171450">
              <a:buClr>
                <a:srgbClr val="30636E"/>
              </a:buClr>
              <a:buFont typeface="Wingdings" panose="05000000000000000000" pitchFamily="2" charset="2"/>
              <a:buChar char="ü"/>
              <a:defRPr/>
            </a:pPr>
            <a:r>
              <a:rPr lang="it-IT" sz="1200" noProof="0" dirty="0">
                <a:solidFill>
                  <a:srgbClr val="C00000"/>
                </a:solidFill>
                <a:latin typeface="Bahnschrift Light SemiCondensed"/>
              </a:rPr>
              <a:t>Richiesta integrazioni a Dicembre 2025</a:t>
            </a:r>
            <a:endParaRPr kumimoji="0" lang="it-IT" sz="1200" b="0" i="0" u="none" strike="noStrike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Bahnschrift Light SemiCondensed"/>
              <a:ea typeface="+mn-ea"/>
              <a:cs typeface="+mn-cs"/>
            </a:endParaRPr>
          </a:p>
        </p:txBody>
      </p:sp>
      <p:cxnSp>
        <p:nvCxnSpPr>
          <p:cNvPr id="10" name="Straight Connector 55">
            <a:extLst>
              <a:ext uri="{FF2B5EF4-FFF2-40B4-BE49-F238E27FC236}">
                <a16:creationId xmlns:a16="http://schemas.microsoft.com/office/drawing/2014/main" id="{CFC21109-3267-C2BC-5F0E-C9E5F8E5937A}"/>
              </a:ext>
            </a:extLst>
          </p:cNvPr>
          <p:cNvCxnSpPr>
            <a:cxnSpLocks/>
          </p:cNvCxnSpPr>
          <p:nvPr/>
        </p:nvCxnSpPr>
        <p:spPr>
          <a:xfrm>
            <a:off x="3932706" y="2173399"/>
            <a:ext cx="786018" cy="543218"/>
          </a:xfrm>
          <a:prstGeom prst="line">
            <a:avLst/>
          </a:prstGeom>
          <a:noFill/>
          <a:ln w="19050" cap="rnd" cmpd="sng" algn="ctr">
            <a:solidFill>
              <a:srgbClr val="5A5B5E"/>
            </a:solidFill>
            <a:prstDash val="solid"/>
            <a:headEnd type="oval"/>
            <a:tailEnd type="none" w="sm" len="sm"/>
          </a:ln>
          <a:effectLst/>
        </p:spPr>
      </p:cxnSp>
      <p:grpSp>
        <p:nvGrpSpPr>
          <p:cNvPr id="126" name="Group 193">
            <a:extLst>
              <a:ext uri="{FF2B5EF4-FFF2-40B4-BE49-F238E27FC236}">
                <a16:creationId xmlns:a16="http://schemas.microsoft.com/office/drawing/2014/main" id="{CC65C7BE-F28B-0832-DD0A-6E4A507CA1AA}"/>
              </a:ext>
            </a:extLst>
          </p:cNvPr>
          <p:cNvGrpSpPr/>
          <p:nvPr/>
        </p:nvGrpSpPr>
        <p:grpSpPr>
          <a:xfrm>
            <a:off x="8066361" y="628606"/>
            <a:ext cx="2567519" cy="1972777"/>
            <a:chOff x="8283790" y="744376"/>
            <a:chExt cx="2176535" cy="1972777"/>
          </a:xfrm>
          <a:solidFill>
            <a:schemeClr val="bg1"/>
          </a:solidFill>
        </p:grpSpPr>
        <p:cxnSp>
          <p:nvCxnSpPr>
            <p:cNvPr id="149" name="Straight Connector 55">
              <a:extLst>
                <a:ext uri="{FF2B5EF4-FFF2-40B4-BE49-F238E27FC236}">
                  <a16:creationId xmlns:a16="http://schemas.microsoft.com/office/drawing/2014/main" id="{92FDC29F-CC3C-982E-FF1C-C2C7D62F1737}"/>
                </a:ext>
              </a:extLst>
            </p:cNvPr>
            <p:cNvCxnSpPr>
              <a:cxnSpLocks/>
              <a:stCxn id="121" idx="3"/>
              <a:endCxn id="150" idx="1"/>
            </p:cNvCxnSpPr>
            <p:nvPr/>
          </p:nvCxnSpPr>
          <p:spPr>
            <a:xfrm flipV="1">
              <a:off x="8283790" y="1730765"/>
              <a:ext cx="173556" cy="67334"/>
            </a:xfrm>
            <a:prstGeom prst="line">
              <a:avLst/>
            </a:prstGeom>
            <a:grpFill/>
            <a:ln w="19050" cap="rnd" cmpd="sng" algn="ctr">
              <a:solidFill>
                <a:srgbClr val="5A5B5E"/>
              </a:solidFill>
              <a:prstDash val="solid"/>
              <a:headEnd type="oval"/>
              <a:tailEnd type="none" w="sm" len="sm"/>
            </a:ln>
            <a:effectLst/>
          </p:spPr>
        </p:cxnSp>
        <p:sp>
          <p:nvSpPr>
            <p:cNvPr id="150" name="Rectangle 56">
              <a:extLst>
                <a:ext uri="{FF2B5EF4-FFF2-40B4-BE49-F238E27FC236}">
                  <a16:creationId xmlns:a16="http://schemas.microsoft.com/office/drawing/2014/main" id="{81CFC2CD-77B1-9E5F-82CD-F313313B5869}"/>
                </a:ext>
              </a:extLst>
            </p:cNvPr>
            <p:cNvSpPr/>
            <p:nvPr/>
          </p:nvSpPr>
          <p:spPr>
            <a:xfrm>
              <a:off x="8457346" y="744376"/>
              <a:ext cx="2002979" cy="1972777"/>
            </a:xfrm>
            <a:prstGeom prst="rect">
              <a:avLst/>
            </a:prstGeom>
            <a:grpFill/>
            <a:ln w="19050" cap="rnd" cmpd="sng" algn="ctr">
              <a:solidFill>
                <a:srgbClr val="74C2AD"/>
              </a:solidFill>
              <a:prstDash val="solid"/>
            </a:ln>
            <a:effectLst/>
          </p:spPr>
          <p:txBody>
            <a:bodyPr lIns="72000" rIns="72000" rtlCol="0" anchor="ctr" anchorCtr="0"/>
            <a:lstStyle/>
            <a:p>
              <a:pPr marL="0" lvl="1">
                <a:buClr>
                  <a:srgbClr val="30636E"/>
                </a:buClr>
                <a:defRPr/>
              </a:pPr>
              <a:r>
                <a:rPr kumimoji="0" lang="en-GB" sz="1200" i="0" u="none" strike="noStrike" cap="none" spc="0" normalizeH="0" baseline="0" dirty="0">
                  <a:ln>
                    <a:noFill/>
                  </a:ln>
                  <a:solidFill>
                    <a:srgbClr val="2D716B"/>
                  </a:solidFill>
                  <a:effectLst/>
                  <a:uLnTx/>
                  <a:uFillTx/>
                  <a:latin typeface="Bahnschrift Light SemiCondensed"/>
                  <a:ea typeface="+mn-ea"/>
                  <a:cs typeface="+mn-cs"/>
                </a:rPr>
                <a:t>FID </a:t>
              </a:r>
              <a:r>
                <a:rPr lang="en-GB" sz="1200" dirty="0">
                  <a:solidFill>
                    <a:srgbClr val="2D716B"/>
                  </a:solidFill>
                  <a:latin typeface="Bahnschrift Light SemiCondensed"/>
                </a:rPr>
                <a:t>DRIVERS</a:t>
              </a:r>
              <a:r>
                <a:rPr kumimoji="0" lang="en-GB" sz="1200" i="0" u="none" strike="noStrike" cap="none" spc="0" normalizeH="0" baseline="0" dirty="0">
                  <a:ln>
                    <a:noFill/>
                  </a:ln>
                  <a:solidFill>
                    <a:srgbClr val="2D716B"/>
                  </a:solidFill>
                  <a:effectLst/>
                  <a:uLnTx/>
                  <a:uFillTx/>
                  <a:latin typeface="Bahnschrift Light SemiCondensed"/>
                  <a:ea typeface="+mn-ea"/>
                  <a:cs typeface="+mn-cs"/>
                </a:rPr>
                <a:t>:</a:t>
              </a:r>
            </a:p>
            <a:p>
              <a:pPr marL="91211" lvl="1" indent="-91211">
                <a:buClr>
                  <a:srgbClr val="30636E"/>
                </a:buClr>
                <a:buFont typeface="Trebuchet MS" panose="020B0603020202020204" pitchFamily="34" charset="0"/>
                <a:buChar char="•"/>
                <a:defRPr/>
              </a:pPr>
              <a:r>
                <a:rPr kumimoji="0" lang="en-GB" sz="1200" b="0" i="0" u="none" strike="noStrike" cap="none" spc="0" normalizeH="0" baseline="0" dirty="0" err="1">
                  <a:ln>
                    <a:noFill/>
                  </a:ln>
                  <a:solidFill>
                    <a:srgbClr val="30636E"/>
                  </a:solidFill>
                  <a:effectLst/>
                  <a:uLnTx/>
                  <a:uFillTx/>
                  <a:latin typeface="Bahnschrift Light SemiCondensed"/>
                  <a:ea typeface="+mn-ea"/>
                  <a:cs typeface="+mn-cs"/>
                </a:rPr>
                <a:t>Decisione</a:t>
              </a:r>
              <a:r>
                <a:rPr kumimoji="0" lang="en-GB" sz="1200" b="0" i="0" u="none" strike="noStrike" cap="none" spc="0" normalizeH="0" baseline="0" dirty="0">
                  <a:ln>
                    <a:noFill/>
                  </a:ln>
                  <a:solidFill>
                    <a:srgbClr val="30636E"/>
                  </a:solidFill>
                  <a:effectLst/>
                  <a:uLnTx/>
                  <a:uFillTx/>
                  <a:latin typeface="Bahnschrift Light SemiCondensed"/>
                  <a:ea typeface="+mn-ea"/>
                  <a:cs typeface="+mn-cs"/>
                </a:rPr>
                <a:t> </a:t>
              </a:r>
              <a:r>
                <a:rPr kumimoji="0" lang="en-GB" sz="1200" b="0" i="0" u="none" strike="noStrike" cap="none" spc="0" normalizeH="0" baseline="0" dirty="0" err="1">
                  <a:ln>
                    <a:noFill/>
                  </a:ln>
                  <a:solidFill>
                    <a:srgbClr val="30636E"/>
                  </a:solidFill>
                  <a:effectLst/>
                  <a:uLnTx/>
                  <a:uFillTx/>
                  <a:latin typeface="Bahnschrift Light SemiCondensed"/>
                  <a:ea typeface="+mn-ea"/>
                  <a:cs typeface="+mn-cs"/>
                </a:rPr>
                <a:t>dell’UE</a:t>
              </a:r>
              <a:r>
                <a:rPr kumimoji="0" lang="en-GB" sz="1200" b="0" i="0" u="none" strike="noStrike" cap="none" spc="0" normalizeH="0" baseline="0" dirty="0">
                  <a:ln>
                    <a:noFill/>
                  </a:ln>
                  <a:solidFill>
                    <a:srgbClr val="30636E"/>
                  </a:solidFill>
                  <a:effectLst/>
                  <a:uLnTx/>
                  <a:uFillTx/>
                  <a:latin typeface="Bahnschrift Light SemiCondensed"/>
                  <a:ea typeface="+mn-ea"/>
                  <a:cs typeface="+mn-cs"/>
                </a:rPr>
                <a:t> </a:t>
              </a:r>
              <a:r>
                <a:rPr kumimoji="0" lang="en-GB" sz="1200" b="0" i="0" u="none" strike="noStrike" cap="none" spc="0" normalizeH="0" baseline="0" dirty="0" err="1">
                  <a:ln>
                    <a:noFill/>
                  </a:ln>
                  <a:solidFill>
                    <a:srgbClr val="30636E"/>
                  </a:solidFill>
                  <a:effectLst/>
                  <a:uLnTx/>
                  <a:uFillTx/>
                  <a:latin typeface="Bahnschrift Light SemiCondensed"/>
                  <a:ea typeface="+mn-ea"/>
                  <a:cs typeface="+mn-cs"/>
                </a:rPr>
                <a:t>sull’inclusione</a:t>
              </a:r>
              <a:r>
                <a:rPr kumimoji="0" lang="en-GB" sz="1200" b="0" i="0" u="none" strike="noStrike" cap="none" spc="0" normalizeH="0" baseline="0" dirty="0">
                  <a:ln>
                    <a:noFill/>
                  </a:ln>
                  <a:solidFill>
                    <a:srgbClr val="30636E"/>
                  </a:solidFill>
                  <a:effectLst/>
                  <a:uLnTx/>
                  <a:uFillTx/>
                  <a:latin typeface="Bahnschrift Light SemiCondensed"/>
                  <a:ea typeface="+mn-ea"/>
                  <a:cs typeface="+mn-cs"/>
                </a:rPr>
                <a:t> </a:t>
              </a:r>
              <a:r>
                <a:rPr kumimoji="0" lang="en-GB" sz="1200" b="0" i="0" u="none" strike="noStrike" cap="none" spc="0" normalizeH="0" baseline="0" dirty="0" err="1">
                  <a:ln>
                    <a:noFill/>
                  </a:ln>
                  <a:solidFill>
                    <a:srgbClr val="30636E"/>
                  </a:solidFill>
                  <a:effectLst/>
                  <a:uLnTx/>
                  <a:uFillTx/>
                  <a:latin typeface="Bahnschrift Light SemiCondensed"/>
                  <a:ea typeface="+mn-ea"/>
                  <a:cs typeface="+mn-cs"/>
                </a:rPr>
                <a:t>dei</a:t>
              </a:r>
              <a:r>
                <a:rPr kumimoji="0" lang="en-GB" sz="1200" b="0" i="0" u="none" strike="noStrike" cap="none" spc="0" normalizeH="0" baseline="0" dirty="0">
                  <a:ln>
                    <a:noFill/>
                  </a:ln>
                  <a:solidFill>
                    <a:srgbClr val="30636E"/>
                  </a:solidFill>
                  <a:effectLst/>
                  <a:uLnTx/>
                  <a:uFillTx/>
                  <a:latin typeface="Bahnschrift Light SemiCondensed"/>
                  <a:ea typeface="+mn-ea"/>
                  <a:cs typeface="+mn-cs"/>
                </a:rPr>
                <a:t> WTE </a:t>
              </a:r>
              <a:r>
                <a:rPr kumimoji="0" lang="en-GB" sz="1200" b="0" i="0" u="none" strike="noStrike" cap="none" spc="0" normalizeH="0" baseline="0" dirty="0" err="1">
                  <a:ln>
                    <a:noFill/>
                  </a:ln>
                  <a:solidFill>
                    <a:srgbClr val="30636E"/>
                  </a:solidFill>
                  <a:effectLst/>
                  <a:uLnTx/>
                  <a:uFillTx/>
                  <a:latin typeface="Bahnschrift Light SemiCondensed"/>
                  <a:ea typeface="+mn-ea"/>
                  <a:cs typeface="+mn-cs"/>
                </a:rPr>
                <a:t>nell’ETS</a:t>
              </a:r>
              <a:endParaRPr kumimoji="0" lang="en-GB" sz="1200" b="0" i="0" u="none" strike="noStrike" cap="none" spc="0" normalizeH="0" baseline="0" dirty="0">
                <a:ln>
                  <a:noFill/>
                </a:ln>
                <a:solidFill>
                  <a:srgbClr val="30636E"/>
                </a:solidFill>
                <a:effectLst/>
                <a:uLnTx/>
                <a:uFillTx/>
                <a:latin typeface="Bahnschrift Light SemiCondensed"/>
                <a:ea typeface="+mn-ea"/>
                <a:cs typeface="+mn-cs"/>
              </a:endParaRPr>
            </a:p>
            <a:p>
              <a:pPr marL="91211" lvl="1" indent="-91211">
                <a:buClr>
                  <a:srgbClr val="30636E"/>
                </a:buClr>
                <a:buFont typeface="Trebuchet MS" panose="020B0603020202020204" pitchFamily="34" charset="0"/>
                <a:buChar char="•"/>
                <a:defRPr/>
              </a:pPr>
              <a:r>
                <a:rPr lang="en-GB" sz="1200" dirty="0" err="1">
                  <a:solidFill>
                    <a:srgbClr val="30636E"/>
                  </a:solidFill>
                  <a:latin typeface="Bahnschrift Light SemiCondensed"/>
                </a:rPr>
                <a:t>Effettiva</a:t>
              </a:r>
              <a:r>
                <a:rPr lang="en-GB" sz="1200" dirty="0">
                  <a:solidFill>
                    <a:srgbClr val="30636E"/>
                  </a:solidFill>
                  <a:latin typeface="Bahnschrift Light SemiCondensed"/>
                </a:rPr>
                <a:t> </a:t>
              </a:r>
              <a:r>
                <a:rPr lang="en-GB" sz="1200" dirty="0" err="1">
                  <a:solidFill>
                    <a:srgbClr val="30636E"/>
                  </a:solidFill>
                  <a:latin typeface="Bahnschrift Light SemiCondensed"/>
                </a:rPr>
                <a:t>disponibilità</a:t>
              </a:r>
              <a:r>
                <a:rPr lang="en-GB" sz="1200" dirty="0">
                  <a:solidFill>
                    <a:srgbClr val="30636E"/>
                  </a:solidFill>
                  <a:latin typeface="Bahnschrift Light SemiCondensed"/>
                </a:rPr>
                <a:t> della rete di </a:t>
              </a:r>
              <a:r>
                <a:rPr lang="en-GB" sz="1200" dirty="0" err="1">
                  <a:solidFill>
                    <a:srgbClr val="30636E"/>
                  </a:solidFill>
                  <a:latin typeface="Bahnschrift Light SemiCondensed"/>
                </a:rPr>
                <a:t>trasporto</a:t>
              </a:r>
              <a:r>
                <a:rPr lang="en-GB" sz="1200" dirty="0">
                  <a:solidFill>
                    <a:srgbClr val="30636E"/>
                  </a:solidFill>
                  <a:latin typeface="Bahnschrift Light SemiCondensed"/>
                </a:rPr>
                <a:t> e </a:t>
              </a:r>
              <a:r>
                <a:rPr lang="en-GB" sz="1200" dirty="0" err="1">
                  <a:solidFill>
                    <a:srgbClr val="30636E"/>
                  </a:solidFill>
                  <a:latin typeface="Bahnschrift Light SemiCondensed"/>
                </a:rPr>
                <a:t>stoccaggio</a:t>
              </a:r>
              <a:endParaRPr lang="en-GB" sz="1200" dirty="0">
                <a:solidFill>
                  <a:srgbClr val="30636E"/>
                </a:solidFill>
                <a:latin typeface="Bahnschrift Light SemiCondensed"/>
              </a:endParaRPr>
            </a:p>
            <a:p>
              <a:pPr marL="91211" lvl="1" indent="-91211">
                <a:buClr>
                  <a:srgbClr val="30636E"/>
                </a:buClr>
                <a:buFont typeface="Trebuchet MS" panose="020B0603020202020204" pitchFamily="34" charset="0"/>
                <a:buChar char="•"/>
                <a:defRPr/>
              </a:pPr>
              <a:r>
                <a:rPr kumimoji="0" lang="en-GB" sz="1200" b="0" i="0" u="none" strike="noStrike" cap="none" spc="0" normalizeH="0" baseline="0" dirty="0" err="1">
                  <a:ln>
                    <a:noFill/>
                  </a:ln>
                  <a:solidFill>
                    <a:srgbClr val="30636E"/>
                  </a:solidFill>
                  <a:effectLst/>
                  <a:uLnTx/>
                  <a:uFillTx/>
                  <a:latin typeface="Bahnschrift Light SemiCondensed"/>
                  <a:ea typeface="+mn-ea"/>
                  <a:cs typeface="+mn-cs"/>
                </a:rPr>
                <a:t>Sostenibilità</a:t>
              </a:r>
              <a:r>
                <a:rPr kumimoji="0" lang="en-GB" sz="1200" b="0" i="0" u="none" strike="noStrike" cap="none" spc="0" normalizeH="0" baseline="0" dirty="0">
                  <a:ln>
                    <a:noFill/>
                  </a:ln>
                  <a:solidFill>
                    <a:srgbClr val="30636E"/>
                  </a:solidFill>
                  <a:effectLst/>
                  <a:uLnTx/>
                  <a:uFillTx/>
                  <a:latin typeface="Bahnschrift Light SemiCondensed"/>
                  <a:ea typeface="+mn-ea"/>
                  <a:cs typeface="+mn-cs"/>
                </a:rPr>
                <a:t> </a:t>
              </a:r>
              <a:r>
                <a:rPr kumimoji="0" lang="en-GB" sz="1200" b="0" i="0" u="none" strike="noStrike" cap="none" spc="0" normalizeH="0" baseline="0" dirty="0" err="1">
                  <a:ln>
                    <a:noFill/>
                  </a:ln>
                  <a:solidFill>
                    <a:srgbClr val="30636E"/>
                  </a:solidFill>
                  <a:effectLst/>
                  <a:uLnTx/>
                  <a:uFillTx/>
                  <a:latin typeface="Bahnschrift Light SemiCondensed"/>
                  <a:ea typeface="+mn-ea"/>
                  <a:cs typeface="+mn-cs"/>
                </a:rPr>
                <a:t>economica</a:t>
              </a:r>
              <a:r>
                <a:rPr kumimoji="0" lang="en-GB" sz="1200" b="0" i="0" u="none" strike="noStrike" cap="none" spc="0" normalizeH="0" baseline="0" dirty="0">
                  <a:ln>
                    <a:noFill/>
                  </a:ln>
                  <a:solidFill>
                    <a:srgbClr val="30636E"/>
                  </a:solidFill>
                  <a:effectLst/>
                  <a:uLnTx/>
                  <a:uFillTx/>
                  <a:latin typeface="Bahnschrift Light SemiCondensed"/>
                  <a:ea typeface="+mn-ea"/>
                  <a:cs typeface="+mn-cs"/>
                </a:rPr>
                <a:t> del </a:t>
              </a:r>
              <a:r>
                <a:rPr kumimoji="0" lang="en-GB" sz="1200" b="0" i="0" u="none" strike="noStrike" cap="none" spc="0" normalizeH="0" baseline="0" dirty="0" err="1">
                  <a:ln>
                    <a:noFill/>
                  </a:ln>
                  <a:solidFill>
                    <a:srgbClr val="30636E"/>
                  </a:solidFill>
                  <a:effectLst/>
                  <a:uLnTx/>
                  <a:uFillTx/>
                  <a:latin typeface="Bahnschrift Light SemiCondensed"/>
                  <a:ea typeface="+mn-ea"/>
                  <a:cs typeface="+mn-cs"/>
                </a:rPr>
                <a:t>progetto</a:t>
              </a:r>
              <a:endParaRPr kumimoji="0" lang="en-US" sz="1200" b="0" i="0" u="none" strike="noStrike" cap="none" spc="0" normalizeH="0" baseline="0" noProof="0" dirty="0">
                <a:ln>
                  <a:noFill/>
                </a:ln>
                <a:solidFill>
                  <a:srgbClr val="30636E"/>
                </a:solidFill>
                <a:effectLst/>
                <a:uLnTx/>
                <a:uFillTx/>
                <a:latin typeface="Bahnschrift Light SemiCondensed"/>
                <a:ea typeface="+mn-ea"/>
                <a:cs typeface="+mn-cs"/>
              </a:endParaRPr>
            </a:p>
            <a:p>
              <a:pPr marL="91211" lvl="1" indent="-91211">
                <a:buClr>
                  <a:srgbClr val="30636E"/>
                </a:buClr>
                <a:buFont typeface="Trebuchet MS" panose="020B0603020202020204" pitchFamily="34" charset="0"/>
                <a:buChar char="•"/>
                <a:defRPr/>
              </a:pPr>
              <a:r>
                <a:rPr lang="en-GB" sz="1200" dirty="0" err="1">
                  <a:solidFill>
                    <a:srgbClr val="30636E"/>
                  </a:solidFill>
                  <a:latin typeface="Bahnschrift Light SemiCondensed"/>
                </a:rPr>
                <a:t>Valutazione</a:t>
              </a:r>
              <a:r>
                <a:rPr lang="en-GB" sz="1200" dirty="0">
                  <a:solidFill>
                    <a:srgbClr val="30636E"/>
                  </a:solidFill>
                  <a:latin typeface="Bahnschrift Light SemiCondensed"/>
                </a:rPr>
                <a:t> di un “</a:t>
              </a:r>
              <a:r>
                <a:rPr lang="en-GB" sz="1200" i="1" dirty="0">
                  <a:solidFill>
                    <a:srgbClr val="30636E"/>
                  </a:solidFill>
                  <a:latin typeface="Bahnschrift Light SemiCondensed"/>
                </a:rPr>
                <a:t>back-up plan</a:t>
              </a:r>
              <a:r>
                <a:rPr lang="en-GB" sz="1200" dirty="0">
                  <a:solidFill>
                    <a:srgbClr val="30636E"/>
                  </a:solidFill>
                  <a:latin typeface="Bahnschrift Light SemiCondensed"/>
                </a:rPr>
                <a:t>” con </a:t>
              </a:r>
              <a:r>
                <a:rPr lang="en-GB" sz="1200" dirty="0" err="1">
                  <a:solidFill>
                    <a:srgbClr val="30636E"/>
                  </a:solidFill>
                  <a:latin typeface="Bahnschrift Light SemiCondensed"/>
                </a:rPr>
                <a:t>generazione</a:t>
              </a:r>
              <a:r>
                <a:rPr lang="en-GB" sz="1200" dirty="0">
                  <a:solidFill>
                    <a:srgbClr val="30636E"/>
                  </a:solidFill>
                  <a:latin typeface="Bahnschrift Light SemiCondensed"/>
                </a:rPr>
                <a:t> di Carbon Removals</a:t>
              </a:r>
              <a:endParaRPr kumimoji="0" lang="en-GB" sz="1200" b="0" i="0" u="none" strike="noStrike" cap="none" spc="0" normalizeH="0" baseline="0" noProof="0" dirty="0">
                <a:ln>
                  <a:noFill/>
                </a:ln>
                <a:solidFill>
                  <a:srgbClr val="30636E"/>
                </a:solidFill>
                <a:effectLst/>
                <a:uLnTx/>
                <a:uFillTx/>
                <a:latin typeface="Bahnschrift Light SemiCondensed"/>
                <a:ea typeface="+mn-ea"/>
                <a:cs typeface="+mn-cs"/>
              </a:endParaRPr>
            </a:p>
          </p:txBody>
        </p:sp>
      </p:grpSp>
      <p:pic>
        <p:nvPicPr>
          <p:cNvPr id="21" name="Picture 20">
            <a:extLst>
              <a:ext uri="{FF2B5EF4-FFF2-40B4-BE49-F238E27FC236}">
                <a16:creationId xmlns:a16="http://schemas.microsoft.com/office/drawing/2014/main" id="{B66AFBB4-A051-6771-2BDC-0047D755E3EE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b="18690"/>
          <a:stretch>
            <a:fillRect/>
          </a:stretch>
        </p:blipFill>
        <p:spPr>
          <a:xfrm>
            <a:off x="540131" y="3748166"/>
            <a:ext cx="11111738" cy="2060784"/>
          </a:xfrm>
          <a:prstGeom prst="rect">
            <a:avLst/>
          </a:prstGeom>
        </p:spPr>
      </p:pic>
      <p:cxnSp>
        <p:nvCxnSpPr>
          <p:cNvPr id="14" name="Connettore diritto 13">
            <a:extLst>
              <a:ext uri="{FF2B5EF4-FFF2-40B4-BE49-F238E27FC236}">
                <a16:creationId xmlns:a16="http://schemas.microsoft.com/office/drawing/2014/main" id="{17056C2C-0085-99A2-4B8F-03CB6660EADE}"/>
              </a:ext>
            </a:extLst>
          </p:cNvPr>
          <p:cNvCxnSpPr>
            <a:cxnSpLocks/>
          </p:cNvCxnSpPr>
          <p:nvPr/>
        </p:nvCxnSpPr>
        <p:spPr>
          <a:xfrm>
            <a:off x="4385188" y="1871490"/>
            <a:ext cx="0" cy="4185181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4388787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B71C417-5A98-FB87-B27C-CC0D60A728B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it-IT"/>
              <a:t>GRUPPOHERA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C889E68-79C5-D442-EE0F-4F40103CBD8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E967B8-E346-4909-9CAE-F975559D8E7F}" type="slidenum">
              <a:rPr lang="it-IT" smtClean="0"/>
              <a:t>2</a:t>
            </a:fld>
            <a:endParaRPr lang="it-IT"/>
          </a:p>
        </p:txBody>
      </p:sp>
      <p:sp>
        <p:nvSpPr>
          <p:cNvPr id="5" name="CasellaDiTesto 14">
            <a:extLst>
              <a:ext uri="{FF2B5EF4-FFF2-40B4-BE49-F238E27FC236}">
                <a16:creationId xmlns:a16="http://schemas.microsoft.com/office/drawing/2014/main" id="{636D3412-C529-30C6-B7F4-2D6C80669D8B}"/>
              </a:ext>
            </a:extLst>
          </p:cNvPr>
          <p:cNvSpPr txBox="1"/>
          <p:nvPr/>
        </p:nvSpPr>
        <p:spPr>
          <a:xfrm>
            <a:off x="172738" y="84981"/>
            <a:ext cx="11901074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r>
              <a:rPr lang="it-IT" sz="4800">
                <a:solidFill>
                  <a:srgbClr val="30636E"/>
                </a:solidFill>
                <a:latin typeface="Bahnschrift Light SemiCondensed" panose="020B0502040204020203" pitchFamily="34" charset="0"/>
              </a:rPr>
              <a:t>INDICE</a:t>
            </a:r>
          </a:p>
        </p:txBody>
      </p:sp>
      <p:sp>
        <p:nvSpPr>
          <p:cNvPr id="6" name="CasellaDiTesto 6">
            <a:extLst>
              <a:ext uri="{FF2B5EF4-FFF2-40B4-BE49-F238E27FC236}">
                <a16:creationId xmlns:a16="http://schemas.microsoft.com/office/drawing/2014/main" id="{CFFF920D-6802-D905-4CDE-31FF4C076117}"/>
              </a:ext>
            </a:extLst>
          </p:cNvPr>
          <p:cNvSpPr txBox="1"/>
          <p:nvPr/>
        </p:nvSpPr>
        <p:spPr>
          <a:xfrm>
            <a:off x="328534" y="1499857"/>
            <a:ext cx="8080090" cy="2246769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342900" indent="-342900">
              <a:buFont typeface="+mj-lt"/>
              <a:buAutoNum type="arabicPeriod"/>
            </a:pPr>
            <a:r>
              <a:rPr lang="it-IT" sz="2800" dirty="0">
                <a:solidFill>
                  <a:srgbClr val="32837D"/>
                </a:solidFill>
                <a:latin typeface="Bahnschrift Light SemiCondensed"/>
                <a:sym typeface="Wingdings" panose="05000000000000000000" pitchFamily="2" charset="2"/>
              </a:rPr>
              <a:t>Presentazione del Gruppo </a:t>
            </a:r>
            <a:r>
              <a:rPr lang="it-IT" sz="2800" dirty="0" err="1">
                <a:solidFill>
                  <a:srgbClr val="32837D"/>
                </a:solidFill>
                <a:latin typeface="Bahnschrift Light SemiCondensed"/>
                <a:sym typeface="Wingdings" panose="05000000000000000000" pitchFamily="2" charset="2"/>
              </a:rPr>
              <a:t>Herambiente</a:t>
            </a:r>
            <a:endParaRPr lang="it-IT" sz="2800" dirty="0">
              <a:solidFill>
                <a:srgbClr val="32837D"/>
              </a:solidFill>
              <a:latin typeface="Bahnschrift Light SemiCondensed"/>
            </a:endParaRPr>
          </a:p>
          <a:p>
            <a:pPr marL="342900" indent="-342900">
              <a:buFont typeface="+mj-lt"/>
              <a:buAutoNum type="arabicPeriod"/>
            </a:pPr>
            <a:r>
              <a:rPr lang="it-IT" sz="2800" dirty="0">
                <a:solidFill>
                  <a:srgbClr val="32837D"/>
                </a:solidFill>
                <a:latin typeface="Bahnschrift Light SemiCondensed"/>
                <a:sym typeface="Wingdings" panose="05000000000000000000" pitchFamily="2" charset="2"/>
              </a:rPr>
              <a:t>Il progetto </a:t>
            </a:r>
            <a:r>
              <a:rPr lang="it-IT" sz="2800" dirty="0" err="1">
                <a:solidFill>
                  <a:srgbClr val="32837D"/>
                </a:solidFill>
                <a:latin typeface="Bahnschrift Light SemiCondensed"/>
                <a:sym typeface="Wingdings" panose="05000000000000000000" pitchFamily="2" charset="2"/>
              </a:rPr>
              <a:t>CapturEste</a:t>
            </a:r>
            <a:endParaRPr lang="it-IT" sz="2800" dirty="0">
              <a:solidFill>
                <a:srgbClr val="32837D"/>
              </a:solidFill>
              <a:latin typeface="Bahnschrift Light SemiCondensed"/>
              <a:sym typeface="Wingdings" panose="05000000000000000000" pitchFamily="2" charset="2"/>
            </a:endParaRPr>
          </a:p>
          <a:p>
            <a:pPr marL="342900" indent="-342900">
              <a:buFont typeface="+mj-lt"/>
              <a:buAutoNum type="arabicPeriod"/>
            </a:pPr>
            <a:r>
              <a:rPr lang="it-IT" sz="2800" dirty="0">
                <a:solidFill>
                  <a:srgbClr val="32837D"/>
                </a:solidFill>
                <a:latin typeface="Bahnschrift Light SemiCondensed"/>
                <a:sym typeface="Wingdings" panose="05000000000000000000" pitchFamily="2" charset="2"/>
              </a:rPr>
              <a:t>Commitment per Application all’Innovation Fund</a:t>
            </a:r>
            <a:endParaRPr lang="it-IT" sz="2800" dirty="0">
              <a:solidFill>
                <a:srgbClr val="32837D"/>
              </a:solidFill>
              <a:latin typeface="Bahnschrift Light SemiCondensed"/>
            </a:endParaRPr>
          </a:p>
          <a:p>
            <a:pPr marL="342900" indent="-342900">
              <a:buFont typeface="+mj-lt"/>
              <a:buAutoNum type="arabicPeriod"/>
            </a:pPr>
            <a:r>
              <a:rPr lang="it-IT" sz="2800" dirty="0" err="1">
                <a:solidFill>
                  <a:srgbClr val="32837D"/>
                </a:solidFill>
                <a:latin typeface="Bahnschrift Light SemiCondensed"/>
                <a:sym typeface="Wingdings" panose="05000000000000000000" pitchFamily="2" charset="2"/>
              </a:rPr>
              <a:t>Lessons</a:t>
            </a:r>
            <a:r>
              <a:rPr lang="it-IT" sz="2800" dirty="0">
                <a:solidFill>
                  <a:srgbClr val="32837D"/>
                </a:solidFill>
                <a:latin typeface="Bahnschrift Light SemiCondensed"/>
                <a:sym typeface="Wingdings" panose="05000000000000000000" pitchFamily="2" charset="2"/>
              </a:rPr>
              <a:t> </a:t>
            </a:r>
            <a:r>
              <a:rPr lang="it-IT" sz="2800" dirty="0" err="1">
                <a:solidFill>
                  <a:srgbClr val="32837D"/>
                </a:solidFill>
                <a:latin typeface="Bahnschrift Light SemiCondensed"/>
                <a:sym typeface="Wingdings" panose="05000000000000000000" pitchFamily="2" charset="2"/>
              </a:rPr>
              <a:t>Learnt</a:t>
            </a:r>
            <a:endParaRPr lang="it-IT" sz="2800" dirty="0">
              <a:solidFill>
                <a:srgbClr val="32837D"/>
              </a:solidFill>
              <a:latin typeface="Bahnschrift Light SemiCondensed"/>
              <a:sym typeface="Wingdings" panose="05000000000000000000" pitchFamily="2" charset="2"/>
            </a:endParaRPr>
          </a:p>
          <a:p>
            <a:pPr marL="342900" indent="-342900">
              <a:buFont typeface="+mj-lt"/>
              <a:buAutoNum type="arabicPeriod"/>
            </a:pPr>
            <a:r>
              <a:rPr lang="it-IT" sz="2800" dirty="0">
                <a:solidFill>
                  <a:srgbClr val="32837D"/>
                </a:solidFill>
                <a:latin typeface="Bahnschrift Light SemiCondensed"/>
                <a:sym typeface="Wingdings" panose="05000000000000000000" pitchFamily="2" charset="2"/>
              </a:rPr>
              <a:t>Timeline di progetto</a:t>
            </a:r>
            <a:endParaRPr lang="it-IT" sz="2800" dirty="0">
              <a:solidFill>
                <a:srgbClr val="32837D"/>
              </a:solidFill>
              <a:latin typeface="Bahnschrift Light SemiCondensed"/>
            </a:endParaRPr>
          </a:p>
        </p:txBody>
      </p:sp>
    </p:spTree>
    <p:extLst>
      <p:ext uri="{BB962C8B-B14F-4D97-AF65-F5344CB8AC3E}">
        <p14:creationId xmlns:p14="http://schemas.microsoft.com/office/powerpoint/2010/main" val="25790273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3FDB3CA-BEBD-D7F4-C4EA-83BB3E6D81C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asellaDiTesto 14">
            <a:extLst>
              <a:ext uri="{FF2B5EF4-FFF2-40B4-BE49-F238E27FC236}">
                <a16:creationId xmlns:a16="http://schemas.microsoft.com/office/drawing/2014/main" id="{7976DEAB-D07A-500A-1CE4-EB14A103DECC}"/>
              </a:ext>
            </a:extLst>
          </p:cNvPr>
          <p:cNvSpPr txBox="1"/>
          <p:nvPr/>
        </p:nvSpPr>
        <p:spPr>
          <a:xfrm>
            <a:off x="875472" y="1126381"/>
            <a:ext cx="10004195" cy="286232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it-IT" sz="6000" dirty="0">
                <a:solidFill>
                  <a:srgbClr val="32837D"/>
                </a:solidFill>
                <a:latin typeface="Bahnschrift Light SemiCondensed" panose="020B0502040204020203" pitchFamily="34" charset="0"/>
                <a:sym typeface="Wingdings" panose="05000000000000000000" pitchFamily="2" charset="2"/>
              </a:rPr>
              <a:t>1.</a:t>
            </a:r>
          </a:p>
          <a:p>
            <a:r>
              <a:rPr lang="it-IT" sz="6000" dirty="0">
                <a:solidFill>
                  <a:srgbClr val="32837D"/>
                </a:solidFill>
                <a:latin typeface="Bahnschrift Light SemiCondensed" panose="020B0502040204020203" pitchFamily="34" charset="0"/>
                <a:sym typeface="Wingdings" panose="05000000000000000000" pitchFamily="2" charset="2"/>
              </a:rPr>
              <a:t>Presentazione del Gruppo </a:t>
            </a:r>
            <a:r>
              <a:rPr lang="it-IT" sz="6000" dirty="0" err="1">
                <a:solidFill>
                  <a:srgbClr val="32837D"/>
                </a:solidFill>
                <a:latin typeface="Bahnschrift Light SemiCondensed" panose="020B0502040204020203" pitchFamily="34" charset="0"/>
                <a:sym typeface="Wingdings" panose="05000000000000000000" pitchFamily="2" charset="2"/>
              </a:rPr>
              <a:t>Herambiente</a:t>
            </a:r>
            <a:endParaRPr lang="it-IT" sz="6000" dirty="0">
              <a:solidFill>
                <a:srgbClr val="32837D"/>
              </a:solidFill>
              <a:latin typeface="Bahnschrift Light SemiCondensed" panose="020B0502040204020203" pitchFamily="34" charset="0"/>
              <a:sym typeface="Wingdings" panose="05000000000000000000" pitchFamily="2" charset="2"/>
            </a:endParaRPr>
          </a:p>
        </p:txBody>
      </p:sp>
    </p:spTree>
    <p:extLst>
      <p:ext uri="{BB962C8B-B14F-4D97-AF65-F5344CB8AC3E}">
        <p14:creationId xmlns:p14="http://schemas.microsoft.com/office/powerpoint/2010/main" val="167181560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AFAF172-3051-3523-7901-4EA5F4D91BC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Rettangolo 43">
            <a:extLst>
              <a:ext uri="{FF2B5EF4-FFF2-40B4-BE49-F238E27FC236}">
                <a16:creationId xmlns:a16="http://schemas.microsoft.com/office/drawing/2014/main" id="{3D1FF254-D1A6-535B-CD97-48DAA906EE83}"/>
              </a:ext>
            </a:extLst>
          </p:cNvPr>
          <p:cNvSpPr/>
          <p:nvPr/>
        </p:nvSpPr>
        <p:spPr>
          <a:xfrm>
            <a:off x="6096000" y="2966117"/>
            <a:ext cx="5557520" cy="2942983"/>
          </a:xfrm>
          <a:prstGeom prst="rect">
            <a:avLst/>
          </a:prstGeom>
          <a:solidFill>
            <a:srgbClr val="58B39B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pic>
        <p:nvPicPr>
          <p:cNvPr id="22" name="Immagine 21">
            <a:extLst>
              <a:ext uri="{FF2B5EF4-FFF2-40B4-BE49-F238E27FC236}">
                <a16:creationId xmlns:a16="http://schemas.microsoft.com/office/drawing/2014/main" id="{85D7CC15-2FB7-D6CC-CAA1-90AE35663D49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04033" y="3057113"/>
            <a:ext cx="5580767" cy="2942982"/>
          </a:xfrm>
          <a:prstGeom prst="rect">
            <a:avLst/>
          </a:prstGeom>
        </p:spPr>
      </p:pic>
      <p:sp>
        <p:nvSpPr>
          <p:cNvPr id="37" name="Rettangolo 36">
            <a:extLst>
              <a:ext uri="{FF2B5EF4-FFF2-40B4-BE49-F238E27FC236}">
                <a16:creationId xmlns:a16="http://schemas.microsoft.com/office/drawing/2014/main" id="{1350CA32-FE88-97E4-B8CC-D03EE896507B}"/>
              </a:ext>
            </a:extLst>
          </p:cNvPr>
          <p:cNvSpPr/>
          <p:nvPr/>
        </p:nvSpPr>
        <p:spPr>
          <a:xfrm>
            <a:off x="6201607" y="3057113"/>
            <a:ext cx="5580768" cy="2935780"/>
          </a:xfrm>
          <a:prstGeom prst="rect">
            <a:avLst/>
          </a:prstGeom>
          <a:solidFill>
            <a:srgbClr val="7F7F7F">
              <a:alpha val="4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444">
              <a:defRPr/>
            </a:pPr>
            <a:endParaRPr lang="it-IT" i="1">
              <a:solidFill>
                <a:prstClr val="white"/>
              </a:solidFill>
            </a:endParaRPr>
          </a:p>
        </p:txBody>
      </p:sp>
      <p:sp>
        <p:nvSpPr>
          <p:cNvPr id="15" name="CasellaDiTesto 14">
            <a:extLst>
              <a:ext uri="{FF2B5EF4-FFF2-40B4-BE49-F238E27FC236}">
                <a16:creationId xmlns:a16="http://schemas.microsoft.com/office/drawing/2014/main" id="{62829F35-CB6B-24B0-016E-DCC43BF1D6A0}"/>
              </a:ext>
            </a:extLst>
          </p:cNvPr>
          <p:cNvSpPr txBox="1"/>
          <p:nvPr/>
        </p:nvSpPr>
        <p:spPr>
          <a:xfrm>
            <a:off x="501300" y="260092"/>
            <a:ext cx="11901074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r>
              <a:rPr lang="it-IT" sz="3200" dirty="0">
                <a:solidFill>
                  <a:srgbClr val="30636E"/>
                </a:solidFill>
                <a:latin typeface="Bahnschrift Light SemiCondensed" panose="020B0502040204020203" pitchFamily="34" charset="0"/>
              </a:rPr>
              <a:t>Il Gruppo </a:t>
            </a:r>
            <a:r>
              <a:rPr lang="it-IT" sz="3200" dirty="0" err="1">
                <a:solidFill>
                  <a:srgbClr val="30636E"/>
                </a:solidFill>
                <a:latin typeface="Bahnschrift Light SemiCondensed" panose="020B0502040204020203" pitchFamily="34" charset="0"/>
              </a:rPr>
              <a:t>Herambiente</a:t>
            </a:r>
            <a:endParaRPr lang="it-IT" sz="3200" dirty="0">
              <a:solidFill>
                <a:srgbClr val="30636E"/>
              </a:solidFill>
              <a:latin typeface="Bahnschrift Light SemiCondensed" panose="020B0502040204020203" pitchFamily="34" charset="0"/>
            </a:endParaRPr>
          </a:p>
        </p:txBody>
      </p:sp>
      <p:sp>
        <p:nvSpPr>
          <p:cNvPr id="17" name="CasellaDiTesto 16">
            <a:extLst>
              <a:ext uri="{FF2B5EF4-FFF2-40B4-BE49-F238E27FC236}">
                <a16:creationId xmlns:a16="http://schemas.microsoft.com/office/drawing/2014/main" id="{FDFBDBD4-906A-48A6-52F1-5D35ED64E30D}"/>
              </a:ext>
            </a:extLst>
          </p:cNvPr>
          <p:cNvSpPr txBox="1"/>
          <p:nvPr/>
        </p:nvSpPr>
        <p:spPr>
          <a:xfrm>
            <a:off x="501300" y="1202238"/>
            <a:ext cx="6998644" cy="1077218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algn="just"/>
            <a:r>
              <a:rPr lang="it-IT" sz="1600" noProof="0">
                <a:solidFill>
                  <a:srgbClr val="30636E"/>
                </a:solidFill>
                <a:latin typeface="Bahnschrift Light SemiCondensed"/>
              </a:rPr>
              <a:t>Fondato l’1 luglio 2009 con l’obiettivo di concentrare </a:t>
            </a:r>
            <a:r>
              <a:rPr lang="it-IT" sz="1600" b="1" noProof="0">
                <a:solidFill>
                  <a:srgbClr val="30636E"/>
                </a:solidFill>
                <a:latin typeface="Bahnschrift Light SemiCondensed"/>
              </a:rPr>
              <a:t>l’ampio parco impiantistico del Gruppo Hera </a:t>
            </a:r>
            <a:r>
              <a:rPr lang="it-IT" sz="1600" noProof="0">
                <a:solidFill>
                  <a:srgbClr val="30636E"/>
                </a:solidFill>
                <a:latin typeface="Bahnschrift Light SemiCondensed"/>
              </a:rPr>
              <a:t>in una nuova azienda meglio capace di portare avanti le prospettive di sviluppo commerciale. </a:t>
            </a:r>
            <a:r>
              <a:rPr lang="it-IT" sz="1600" noProof="0" err="1">
                <a:solidFill>
                  <a:srgbClr val="30636E"/>
                </a:solidFill>
                <a:latin typeface="Bahnschrift Light SemiCondensed"/>
              </a:rPr>
              <a:t>Herambiente</a:t>
            </a:r>
            <a:r>
              <a:rPr lang="it-IT" sz="1600" noProof="0">
                <a:solidFill>
                  <a:srgbClr val="30636E"/>
                </a:solidFill>
                <a:latin typeface="Bahnschrift Light SemiCondensed"/>
              </a:rPr>
              <a:t> è </a:t>
            </a:r>
            <a:r>
              <a:rPr lang="it-IT" sz="1600" b="1" noProof="0">
                <a:solidFill>
                  <a:srgbClr val="30636E"/>
                </a:solidFill>
                <a:latin typeface="Bahnschrift Light SemiCondensed"/>
              </a:rPr>
              <a:t>leader in Italia nei settori di trattamento rifiuti e recupero di energia e dei materiali.</a:t>
            </a:r>
          </a:p>
        </p:txBody>
      </p:sp>
      <p:pic>
        <p:nvPicPr>
          <p:cNvPr id="40" name="Immagine 39">
            <a:extLst>
              <a:ext uri="{FF2B5EF4-FFF2-40B4-BE49-F238E27FC236}">
                <a16:creationId xmlns:a16="http://schemas.microsoft.com/office/drawing/2014/main" id="{A45EBA78-BF6C-B583-F08D-1BDA2E5453C4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33280" y="769971"/>
            <a:ext cx="1005842" cy="1005842"/>
          </a:xfrm>
          <a:prstGeom prst="rect">
            <a:avLst/>
          </a:prstGeom>
        </p:spPr>
      </p:pic>
      <p:sp>
        <p:nvSpPr>
          <p:cNvPr id="41" name="Ovale 40">
            <a:extLst>
              <a:ext uri="{FF2B5EF4-FFF2-40B4-BE49-F238E27FC236}">
                <a16:creationId xmlns:a16="http://schemas.microsoft.com/office/drawing/2014/main" id="{3396A61D-EAF6-45B0-AF90-E73C7194D33F}"/>
              </a:ext>
            </a:extLst>
          </p:cNvPr>
          <p:cNvSpPr/>
          <p:nvPr/>
        </p:nvSpPr>
        <p:spPr>
          <a:xfrm>
            <a:off x="9954393" y="487310"/>
            <a:ext cx="1016865" cy="1019122"/>
          </a:xfrm>
          <a:prstGeom prst="ellipse">
            <a:avLst/>
          </a:prstGeom>
          <a:solidFill>
            <a:srgbClr val="009770"/>
          </a:solidFill>
          <a:ln w="1905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pic>
        <p:nvPicPr>
          <p:cNvPr id="42" name="Immagine 41">
            <a:extLst>
              <a:ext uri="{FF2B5EF4-FFF2-40B4-BE49-F238E27FC236}">
                <a16:creationId xmlns:a16="http://schemas.microsoft.com/office/drawing/2014/main" id="{C60C1A0A-F02F-0AE9-BC9F-6FAE3095E06F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20986" y="545680"/>
            <a:ext cx="683677" cy="839501"/>
          </a:xfrm>
          <a:prstGeom prst="rect">
            <a:avLst/>
          </a:prstGeom>
        </p:spPr>
      </p:pic>
      <p:pic>
        <p:nvPicPr>
          <p:cNvPr id="8" name="Immagine 7">
            <a:extLst>
              <a:ext uri="{FF2B5EF4-FFF2-40B4-BE49-F238E27FC236}">
                <a16:creationId xmlns:a16="http://schemas.microsoft.com/office/drawing/2014/main" id="{B2A9500B-289B-4DD0-3CC2-4B62A07BC210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21040" y="3888163"/>
            <a:ext cx="1173591" cy="1173591"/>
          </a:xfrm>
          <a:prstGeom prst="rect">
            <a:avLst/>
          </a:prstGeom>
        </p:spPr>
      </p:pic>
      <p:pic>
        <p:nvPicPr>
          <p:cNvPr id="9" name="Immagine 8">
            <a:extLst>
              <a:ext uri="{FF2B5EF4-FFF2-40B4-BE49-F238E27FC236}">
                <a16:creationId xmlns:a16="http://schemas.microsoft.com/office/drawing/2014/main" id="{456A92C3-61C8-EB55-C1A1-1FDDE4632ED8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6991" y="2843236"/>
            <a:ext cx="1173591" cy="1173591"/>
          </a:xfrm>
          <a:prstGeom prst="rect">
            <a:avLst/>
          </a:prstGeom>
        </p:spPr>
      </p:pic>
      <p:pic>
        <p:nvPicPr>
          <p:cNvPr id="10" name="Immagine 9">
            <a:extLst>
              <a:ext uri="{FF2B5EF4-FFF2-40B4-BE49-F238E27FC236}">
                <a16:creationId xmlns:a16="http://schemas.microsoft.com/office/drawing/2014/main" id="{026C6357-50D5-D64F-B7E3-D296234321AF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21040" y="5359025"/>
            <a:ext cx="1173591" cy="1173591"/>
          </a:xfrm>
          <a:prstGeom prst="rect">
            <a:avLst/>
          </a:prstGeom>
        </p:spPr>
      </p:pic>
      <p:sp>
        <p:nvSpPr>
          <p:cNvPr id="2" name="CasellaDiTesto 1">
            <a:extLst>
              <a:ext uri="{FF2B5EF4-FFF2-40B4-BE49-F238E27FC236}">
                <a16:creationId xmlns:a16="http://schemas.microsoft.com/office/drawing/2014/main" id="{303E248B-882C-0ABE-1FE5-7A38293C7797}"/>
              </a:ext>
            </a:extLst>
          </p:cNvPr>
          <p:cNvSpPr txBox="1"/>
          <p:nvPr/>
        </p:nvSpPr>
        <p:spPr>
          <a:xfrm>
            <a:off x="8078327" y="1786461"/>
            <a:ext cx="2457443" cy="116955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it-IT" sz="2800" dirty="0">
                <a:solidFill>
                  <a:srgbClr val="009770"/>
                </a:solidFill>
                <a:latin typeface="Bahnschrift Light SemiCondensed" panose="020B0502040204020203" pitchFamily="34" charset="0"/>
              </a:rPr>
              <a:t>1.1 miliardi €</a:t>
            </a:r>
          </a:p>
          <a:p>
            <a:r>
              <a:rPr lang="it-IT" dirty="0">
                <a:solidFill>
                  <a:srgbClr val="30636E"/>
                </a:solidFill>
                <a:latin typeface="Bahnschrift Light SemiCondensed" panose="020B0502040204020203" pitchFamily="34" charset="0"/>
              </a:rPr>
              <a:t>fatturato</a:t>
            </a:r>
          </a:p>
          <a:p>
            <a:endParaRPr lang="it-IT" sz="2400" dirty="0">
              <a:solidFill>
                <a:srgbClr val="3EB49A"/>
              </a:solidFill>
              <a:latin typeface="Bahnschrift Light SemiCondensed" panose="020B0502040204020203" pitchFamily="34" charset="0"/>
            </a:endParaRPr>
          </a:p>
        </p:txBody>
      </p:sp>
      <p:sp>
        <p:nvSpPr>
          <p:cNvPr id="3" name="CasellaDiTesto 2">
            <a:extLst>
              <a:ext uri="{FF2B5EF4-FFF2-40B4-BE49-F238E27FC236}">
                <a16:creationId xmlns:a16="http://schemas.microsoft.com/office/drawing/2014/main" id="{5987261C-3020-9E1B-498A-A1B7667FF329}"/>
              </a:ext>
            </a:extLst>
          </p:cNvPr>
          <p:cNvSpPr txBox="1"/>
          <p:nvPr/>
        </p:nvSpPr>
        <p:spPr>
          <a:xfrm>
            <a:off x="10021310" y="1500873"/>
            <a:ext cx="1683284" cy="116955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it-IT" sz="2800">
                <a:solidFill>
                  <a:srgbClr val="00956F"/>
                </a:solidFill>
                <a:latin typeface="Bahnschrift Light SemiCondensed" panose="020B0502040204020203" pitchFamily="34" charset="0"/>
              </a:rPr>
              <a:t>&gt; 2,000</a:t>
            </a:r>
          </a:p>
          <a:p>
            <a:r>
              <a:rPr lang="it-IT">
                <a:solidFill>
                  <a:srgbClr val="30636E"/>
                </a:solidFill>
                <a:latin typeface="Bahnschrift Light SemiCondensed" panose="020B0502040204020203" pitchFamily="34" charset="0"/>
              </a:rPr>
              <a:t>dipendenti</a:t>
            </a:r>
          </a:p>
          <a:p>
            <a:endParaRPr lang="it-IT" sz="2400">
              <a:solidFill>
                <a:srgbClr val="3EB49A"/>
              </a:solidFill>
              <a:latin typeface="Bahnschrift Light SemiCondensed" panose="020B0502040204020203" pitchFamily="34" charset="0"/>
            </a:endParaRPr>
          </a:p>
        </p:txBody>
      </p:sp>
      <p:sp>
        <p:nvSpPr>
          <p:cNvPr id="11" name="CasellaDiTesto 10">
            <a:extLst>
              <a:ext uri="{FF2B5EF4-FFF2-40B4-BE49-F238E27FC236}">
                <a16:creationId xmlns:a16="http://schemas.microsoft.com/office/drawing/2014/main" id="{88C43A12-4A7D-AFD4-A602-7E3FD2FE1F0B}"/>
              </a:ext>
            </a:extLst>
          </p:cNvPr>
          <p:cNvSpPr txBox="1"/>
          <p:nvPr/>
        </p:nvSpPr>
        <p:spPr>
          <a:xfrm>
            <a:off x="172738" y="6507929"/>
            <a:ext cx="2076100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900" b="0" i="1" u="none" strike="noStrike" kern="1200" cap="none" spc="0" normalizeH="0" baseline="0" noProof="0">
                <a:ln>
                  <a:noFill/>
                </a:ln>
                <a:solidFill>
                  <a:srgbClr val="30636E"/>
                </a:solidFill>
                <a:effectLst/>
                <a:uLnTx/>
                <a:uFillTx/>
                <a:latin typeface="Bahnschrift Light SemiCondensed" panose="020B0502040204020203" pitchFamily="34" charset="0"/>
                <a:ea typeface="+mn-ea"/>
                <a:cs typeface="+mn-cs"/>
              </a:rPr>
              <a:t>2023 data</a:t>
            </a:r>
          </a:p>
        </p:txBody>
      </p:sp>
      <p:sp>
        <p:nvSpPr>
          <p:cNvPr id="12" name="CasellaDiTesto 11">
            <a:extLst>
              <a:ext uri="{FF2B5EF4-FFF2-40B4-BE49-F238E27FC236}">
                <a16:creationId xmlns:a16="http://schemas.microsoft.com/office/drawing/2014/main" id="{463B41F3-D4EE-3541-DC37-763659E439AC}"/>
              </a:ext>
            </a:extLst>
          </p:cNvPr>
          <p:cNvSpPr txBox="1"/>
          <p:nvPr/>
        </p:nvSpPr>
        <p:spPr>
          <a:xfrm>
            <a:off x="1521040" y="3042534"/>
            <a:ext cx="3224818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it-IT"/>
            </a:defPPr>
            <a:lvl1pPr algn="just">
              <a:defRPr>
                <a:solidFill>
                  <a:srgbClr val="30636E"/>
                </a:solidFill>
                <a:latin typeface="Bahnschrift Light SemiCondensed" panose="020B0502040204020203" pitchFamily="34" charset="0"/>
              </a:defRPr>
            </a:lvl1pPr>
          </a:lstStyle>
          <a:p>
            <a:r>
              <a:rPr lang="en-AU">
                <a:solidFill>
                  <a:srgbClr val="009770"/>
                </a:solidFill>
              </a:rPr>
              <a:t>7.2 MILIONI DI TONNELLATE /ANNO</a:t>
            </a:r>
          </a:p>
          <a:p>
            <a:r>
              <a:rPr lang="en-AU"/>
              <a:t>di </a:t>
            </a:r>
            <a:r>
              <a:rPr lang="en-AU" err="1"/>
              <a:t>rifiuto</a:t>
            </a:r>
            <a:r>
              <a:rPr lang="en-AU"/>
              <a:t> </a:t>
            </a:r>
            <a:r>
              <a:rPr lang="en-AU" err="1"/>
              <a:t>trattate</a:t>
            </a:r>
            <a:endParaRPr lang="en-AU"/>
          </a:p>
        </p:txBody>
      </p:sp>
      <p:sp>
        <p:nvSpPr>
          <p:cNvPr id="13" name="CasellaDiTesto 12">
            <a:extLst>
              <a:ext uri="{FF2B5EF4-FFF2-40B4-BE49-F238E27FC236}">
                <a16:creationId xmlns:a16="http://schemas.microsoft.com/office/drawing/2014/main" id="{3DEAA697-1A74-B11C-4CF3-8A6A40645069}"/>
              </a:ext>
            </a:extLst>
          </p:cNvPr>
          <p:cNvSpPr txBox="1"/>
          <p:nvPr/>
        </p:nvSpPr>
        <p:spPr>
          <a:xfrm>
            <a:off x="2564199" y="4076010"/>
            <a:ext cx="3224818" cy="129266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/>
            <a:r>
              <a:rPr lang="en-AU" dirty="0">
                <a:solidFill>
                  <a:srgbClr val="009770"/>
                </a:solidFill>
                <a:latin typeface="Bahnschrift Light SemiCondensed" panose="020B0502040204020203" pitchFamily="34" charset="0"/>
              </a:rPr>
              <a:t>5.2 MILIONI DI TONNELLATE/ANNO </a:t>
            </a:r>
            <a:r>
              <a:rPr lang="en-AU" dirty="0">
                <a:solidFill>
                  <a:srgbClr val="30636E"/>
                </a:solidFill>
                <a:latin typeface="Bahnschrift Light SemiCondensed" panose="020B0502040204020203" pitchFamily="34" charset="0"/>
              </a:rPr>
              <a:t>di </a:t>
            </a:r>
            <a:r>
              <a:rPr lang="en-AU" dirty="0" err="1">
                <a:solidFill>
                  <a:srgbClr val="30636E"/>
                </a:solidFill>
                <a:latin typeface="Bahnschrift Light SemiCondensed" panose="020B0502040204020203" pitchFamily="34" charset="0"/>
              </a:rPr>
              <a:t>rifiuto</a:t>
            </a:r>
            <a:r>
              <a:rPr lang="en-AU" dirty="0">
                <a:solidFill>
                  <a:srgbClr val="30636E"/>
                </a:solidFill>
                <a:latin typeface="Bahnschrift Light SemiCondensed" panose="020B0502040204020203" pitchFamily="34" charset="0"/>
              </a:rPr>
              <a:t> </a:t>
            </a:r>
            <a:r>
              <a:rPr lang="en-AU" dirty="0" err="1">
                <a:solidFill>
                  <a:srgbClr val="30636E"/>
                </a:solidFill>
                <a:latin typeface="Bahnschrift Light SemiCondensed" panose="020B0502040204020203" pitchFamily="34" charset="0"/>
              </a:rPr>
              <a:t>speciale</a:t>
            </a:r>
            <a:r>
              <a:rPr lang="en-AU" dirty="0">
                <a:solidFill>
                  <a:srgbClr val="30636E"/>
                </a:solidFill>
                <a:latin typeface="Bahnschrift Light SemiCondensed" panose="020B0502040204020203" pitchFamily="34" charset="0"/>
              </a:rPr>
              <a:t> </a:t>
            </a:r>
            <a:r>
              <a:rPr lang="en-AU" dirty="0" err="1">
                <a:solidFill>
                  <a:srgbClr val="30636E"/>
                </a:solidFill>
                <a:latin typeface="Bahnschrift Light SemiCondensed" panose="020B0502040204020203" pitchFamily="34" charset="0"/>
              </a:rPr>
              <a:t>trattate</a:t>
            </a:r>
            <a:endParaRPr lang="en-AU" dirty="0">
              <a:solidFill>
                <a:srgbClr val="30636E"/>
              </a:solidFill>
              <a:latin typeface="Bahnschrift Light SemiCondensed" panose="020B0502040204020203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it-IT" sz="1400" dirty="0">
                <a:solidFill>
                  <a:srgbClr val="009770"/>
                </a:solidFill>
                <a:latin typeface="Bahnschrift Light SemiCondensed" panose="020B0502040204020203" pitchFamily="34" charset="0"/>
              </a:rPr>
              <a:t>Di cui &gt; 1.5 MILIONI DI TONNELLATE/ANNO</a:t>
            </a:r>
          </a:p>
          <a:p>
            <a:pPr indent="271463" algn="just"/>
            <a:r>
              <a:rPr lang="it-IT" sz="1400" dirty="0">
                <a:solidFill>
                  <a:srgbClr val="30636E"/>
                </a:solidFill>
                <a:latin typeface="Bahnschrift Light SemiCondensed" panose="020B0502040204020203" pitchFamily="34" charset="0"/>
              </a:rPr>
              <a:t>di rifiuti commerciali - industriali.</a:t>
            </a:r>
          </a:p>
        </p:txBody>
      </p:sp>
      <p:sp>
        <p:nvSpPr>
          <p:cNvPr id="14" name="CasellaDiTesto 13">
            <a:extLst>
              <a:ext uri="{FF2B5EF4-FFF2-40B4-BE49-F238E27FC236}">
                <a16:creationId xmlns:a16="http://schemas.microsoft.com/office/drawing/2014/main" id="{2E5839CE-4FCE-B2B0-062F-7D6B020D9E52}"/>
              </a:ext>
            </a:extLst>
          </p:cNvPr>
          <p:cNvSpPr txBox="1"/>
          <p:nvPr/>
        </p:nvSpPr>
        <p:spPr>
          <a:xfrm>
            <a:off x="2630591" y="5523694"/>
            <a:ext cx="3158425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/>
            <a:r>
              <a:rPr lang="it-IT">
                <a:solidFill>
                  <a:srgbClr val="009770"/>
                </a:solidFill>
                <a:latin typeface="Bahnschrift Light SemiCondensed" panose="020B0502040204020203" pitchFamily="34" charset="0"/>
              </a:rPr>
              <a:t>2 </a:t>
            </a:r>
            <a:r>
              <a:rPr lang="en-AU">
                <a:solidFill>
                  <a:srgbClr val="009770"/>
                </a:solidFill>
                <a:latin typeface="Bahnschrift Light SemiCondensed" panose="020B0502040204020203" pitchFamily="34" charset="0"/>
              </a:rPr>
              <a:t>MILIONI DI TONNELLATE/ANNO</a:t>
            </a:r>
          </a:p>
          <a:p>
            <a:pPr algn="just"/>
            <a:r>
              <a:rPr lang="it-IT">
                <a:solidFill>
                  <a:srgbClr val="30636E"/>
                </a:solidFill>
                <a:latin typeface="Bahnschrift Light SemiCondensed" panose="020B0502040204020203" pitchFamily="34" charset="0"/>
              </a:rPr>
              <a:t>di rifiuto urbano trattate</a:t>
            </a:r>
          </a:p>
        </p:txBody>
      </p:sp>
    </p:spTree>
    <p:extLst>
      <p:ext uri="{BB962C8B-B14F-4D97-AF65-F5344CB8AC3E}">
        <p14:creationId xmlns:p14="http://schemas.microsoft.com/office/powerpoint/2010/main" val="309125304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riangolo isoscele 1">
            <a:extLst>
              <a:ext uri="{FF2B5EF4-FFF2-40B4-BE49-F238E27FC236}">
                <a16:creationId xmlns:a16="http://schemas.microsoft.com/office/drawing/2014/main" id="{54FC01A7-4F5B-41E3-8F45-4C07A6EEEE1E}"/>
              </a:ext>
            </a:extLst>
          </p:cNvPr>
          <p:cNvSpPr/>
          <p:nvPr/>
        </p:nvSpPr>
        <p:spPr>
          <a:xfrm>
            <a:off x="5134867" y="1570185"/>
            <a:ext cx="2742847" cy="1770687"/>
          </a:xfrm>
          <a:prstGeom prst="triangle">
            <a:avLst>
              <a:gd name="adj" fmla="val 100000"/>
            </a:avLst>
          </a:prstGeom>
          <a:solidFill>
            <a:srgbClr val="009770">
              <a:alpha val="25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20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Bahnschrift Light SemiCondensed" panose="020B0502040204020203" pitchFamily="34" charset="0"/>
            </a:endParaRPr>
          </a:p>
        </p:txBody>
      </p:sp>
      <p:sp>
        <p:nvSpPr>
          <p:cNvPr id="57" name="Triangolo isoscele 56">
            <a:extLst>
              <a:ext uri="{FF2B5EF4-FFF2-40B4-BE49-F238E27FC236}">
                <a16:creationId xmlns:a16="http://schemas.microsoft.com/office/drawing/2014/main" id="{81CFD4C2-8902-4157-8F4D-70C9F3B8D049}"/>
              </a:ext>
            </a:extLst>
          </p:cNvPr>
          <p:cNvSpPr/>
          <p:nvPr/>
        </p:nvSpPr>
        <p:spPr>
          <a:xfrm rot="16200000">
            <a:off x="5054070" y="3426162"/>
            <a:ext cx="2912003" cy="2742847"/>
          </a:xfrm>
          <a:prstGeom prst="triangle">
            <a:avLst>
              <a:gd name="adj" fmla="val 100000"/>
            </a:avLst>
          </a:prstGeom>
          <a:solidFill>
            <a:srgbClr val="009770">
              <a:alpha val="25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20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Bahnschrift Light SemiCondensed" panose="020B0502040204020203" pitchFamily="34" charset="0"/>
            </a:endParaRPr>
          </a:p>
        </p:txBody>
      </p:sp>
      <p:sp>
        <p:nvSpPr>
          <p:cNvPr id="20" name="Triangolo isoscele 19">
            <a:extLst>
              <a:ext uri="{FF2B5EF4-FFF2-40B4-BE49-F238E27FC236}">
                <a16:creationId xmlns:a16="http://schemas.microsoft.com/office/drawing/2014/main" id="{90DDFD75-3999-4A46-BBBB-4EFB2496D1D7}"/>
              </a:ext>
            </a:extLst>
          </p:cNvPr>
          <p:cNvSpPr/>
          <p:nvPr/>
        </p:nvSpPr>
        <p:spPr>
          <a:xfrm>
            <a:off x="113800" y="3787528"/>
            <a:ext cx="6217138" cy="1127297"/>
          </a:xfrm>
          <a:prstGeom prst="triangle">
            <a:avLst>
              <a:gd name="adj" fmla="val 28660"/>
            </a:avLst>
          </a:prstGeom>
          <a:solidFill>
            <a:srgbClr val="009770">
              <a:alpha val="25098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2000" b="0" i="0" u="none" strike="noStrike" kern="1200" cap="none" spc="0" normalizeH="0" baseline="0" noProof="0">
              <a:ln>
                <a:noFill/>
              </a:ln>
              <a:solidFill>
                <a:srgbClr val="30636E"/>
              </a:solidFill>
              <a:effectLst/>
              <a:uLnTx/>
              <a:uFillTx/>
              <a:latin typeface="Bahnschrift Light SemiCondensed" panose="020B0502040204020203" pitchFamily="34" charset="0"/>
            </a:endParaRPr>
          </a:p>
        </p:txBody>
      </p:sp>
      <p:sp>
        <p:nvSpPr>
          <p:cNvPr id="55" name="Rettangolo 54">
            <a:extLst>
              <a:ext uri="{FF2B5EF4-FFF2-40B4-BE49-F238E27FC236}">
                <a16:creationId xmlns:a16="http://schemas.microsoft.com/office/drawing/2014/main" id="{C3BD7274-1E8A-4C57-9930-524536A96D4A}"/>
              </a:ext>
            </a:extLst>
          </p:cNvPr>
          <p:cNvSpPr/>
          <p:nvPr/>
        </p:nvSpPr>
        <p:spPr>
          <a:xfrm>
            <a:off x="7877714" y="1570188"/>
            <a:ext cx="4317666" cy="4683222"/>
          </a:xfrm>
          <a:prstGeom prst="rect">
            <a:avLst/>
          </a:prstGeom>
          <a:solidFill>
            <a:srgbClr val="009770">
              <a:alpha val="2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2000" b="0" i="1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Bahnschrift Light SemiCondensed" panose="020B0502040204020203" pitchFamily="34" charset="0"/>
            </a:endParaRPr>
          </a:p>
        </p:txBody>
      </p:sp>
      <p:sp>
        <p:nvSpPr>
          <p:cNvPr id="54" name="Rettangolo 53">
            <a:extLst>
              <a:ext uri="{FF2B5EF4-FFF2-40B4-BE49-F238E27FC236}">
                <a16:creationId xmlns:a16="http://schemas.microsoft.com/office/drawing/2014/main" id="{85459E45-53DB-4DA6-8D3C-EA646D847EB1}"/>
              </a:ext>
            </a:extLst>
          </p:cNvPr>
          <p:cNvSpPr/>
          <p:nvPr/>
        </p:nvSpPr>
        <p:spPr>
          <a:xfrm>
            <a:off x="120689" y="4914698"/>
            <a:ext cx="6217138" cy="1582802"/>
          </a:xfrm>
          <a:prstGeom prst="rect">
            <a:avLst/>
          </a:prstGeom>
          <a:solidFill>
            <a:srgbClr val="009770">
              <a:alpha val="2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2000" b="0" i="1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Bahnschrift Light SemiCondensed" panose="020B0502040204020203" pitchFamily="34" charset="0"/>
            </a:endParaRPr>
          </a:p>
        </p:txBody>
      </p:sp>
      <p:cxnSp>
        <p:nvCxnSpPr>
          <p:cNvPr id="52" name="Connettore 2 51">
            <a:extLst>
              <a:ext uri="{FF2B5EF4-FFF2-40B4-BE49-F238E27FC236}">
                <a16:creationId xmlns:a16="http://schemas.microsoft.com/office/drawing/2014/main" id="{4FFE37D4-C15E-48A9-93D3-5C3769BB4842}"/>
              </a:ext>
            </a:extLst>
          </p:cNvPr>
          <p:cNvCxnSpPr>
            <a:cxnSpLocks/>
          </p:cNvCxnSpPr>
          <p:nvPr/>
        </p:nvCxnSpPr>
        <p:spPr>
          <a:xfrm flipV="1">
            <a:off x="1379533" y="3304541"/>
            <a:ext cx="3389874" cy="588085"/>
          </a:xfrm>
          <a:prstGeom prst="straightConnector1">
            <a:avLst/>
          </a:prstGeom>
          <a:ln>
            <a:solidFill>
              <a:srgbClr val="30636E"/>
            </a:solidFill>
            <a:prstDash val="sysDot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1" name="Connettore 2 90">
            <a:extLst>
              <a:ext uri="{FF2B5EF4-FFF2-40B4-BE49-F238E27FC236}">
                <a16:creationId xmlns:a16="http://schemas.microsoft.com/office/drawing/2014/main" id="{58E5EC50-63B6-4040-920D-AF90523E773A}"/>
              </a:ext>
            </a:extLst>
          </p:cNvPr>
          <p:cNvCxnSpPr>
            <a:cxnSpLocks/>
            <a:endCxn id="3" idx="1"/>
          </p:cNvCxnSpPr>
          <p:nvPr/>
        </p:nvCxnSpPr>
        <p:spPr>
          <a:xfrm flipV="1">
            <a:off x="3562350" y="1656151"/>
            <a:ext cx="580281" cy="76563"/>
          </a:xfrm>
          <a:prstGeom prst="straightConnector1">
            <a:avLst/>
          </a:prstGeom>
          <a:ln>
            <a:solidFill>
              <a:srgbClr val="30636E"/>
            </a:solidFill>
            <a:prstDash val="sysDot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3" name="Immagine 2">
            <a:extLst>
              <a:ext uri="{FF2B5EF4-FFF2-40B4-BE49-F238E27FC236}">
                <a16:creationId xmlns:a16="http://schemas.microsoft.com/office/drawing/2014/main" id="{D5631E10-7A16-4B33-95D2-627FEDF0EB35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42631" y="800803"/>
            <a:ext cx="1724403" cy="1710695"/>
          </a:xfrm>
          <a:prstGeom prst="rect">
            <a:avLst/>
          </a:prstGeom>
        </p:spPr>
      </p:pic>
      <p:pic>
        <p:nvPicPr>
          <p:cNvPr id="6" name="Immagine 5">
            <a:extLst>
              <a:ext uri="{FF2B5EF4-FFF2-40B4-BE49-F238E27FC236}">
                <a16:creationId xmlns:a16="http://schemas.microsoft.com/office/drawing/2014/main" id="{3EBB3ED4-7B5F-4964-BED4-3782EA5446A1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16879" y="2429360"/>
            <a:ext cx="2360003" cy="2343093"/>
          </a:xfrm>
          <a:prstGeom prst="rect">
            <a:avLst/>
          </a:prstGeom>
        </p:spPr>
      </p:pic>
      <p:pic>
        <p:nvPicPr>
          <p:cNvPr id="9" name="Immagine 8" descr="Immagine che contiene testo, elettronico, compact disc&#10;&#10;Descrizione generata automaticamente">
            <a:extLst>
              <a:ext uri="{FF2B5EF4-FFF2-40B4-BE49-F238E27FC236}">
                <a16:creationId xmlns:a16="http://schemas.microsoft.com/office/drawing/2014/main" id="{5C78CF9A-CBF4-46E6-994A-3AD78CC31AC4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3599" y="857375"/>
            <a:ext cx="3912454" cy="3884442"/>
          </a:xfrm>
          <a:prstGeom prst="rect">
            <a:avLst/>
          </a:prstGeom>
        </p:spPr>
      </p:pic>
      <p:pic>
        <p:nvPicPr>
          <p:cNvPr id="12" name="Immagine 11">
            <a:extLst>
              <a:ext uri="{FF2B5EF4-FFF2-40B4-BE49-F238E27FC236}">
                <a16:creationId xmlns:a16="http://schemas.microsoft.com/office/drawing/2014/main" id="{9A1AC4D8-2D95-4C5A-BC5F-4E8E75EF4ED1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01031" y="5645079"/>
            <a:ext cx="680229" cy="720000"/>
          </a:xfrm>
          <a:prstGeom prst="rect">
            <a:avLst/>
          </a:prstGeom>
        </p:spPr>
      </p:pic>
      <p:pic>
        <p:nvPicPr>
          <p:cNvPr id="15" name="Immagine 14">
            <a:extLst>
              <a:ext uri="{FF2B5EF4-FFF2-40B4-BE49-F238E27FC236}">
                <a16:creationId xmlns:a16="http://schemas.microsoft.com/office/drawing/2014/main" id="{0785008A-6F8C-4013-B5C1-475E848B389D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96257" y="4846320"/>
            <a:ext cx="698058" cy="700412"/>
          </a:xfrm>
          <a:prstGeom prst="rect">
            <a:avLst/>
          </a:prstGeom>
        </p:spPr>
      </p:pic>
      <p:pic>
        <p:nvPicPr>
          <p:cNvPr id="17" name="Immagine 16">
            <a:extLst>
              <a:ext uri="{FF2B5EF4-FFF2-40B4-BE49-F238E27FC236}">
                <a16:creationId xmlns:a16="http://schemas.microsoft.com/office/drawing/2014/main" id="{F7A3A526-E93F-4F7C-9B28-137E7AED7510}"/>
              </a:ext>
            </a:extLst>
          </p:cNvPr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6120" y="5688383"/>
            <a:ext cx="680229" cy="720000"/>
          </a:xfrm>
          <a:prstGeom prst="rect">
            <a:avLst/>
          </a:prstGeom>
        </p:spPr>
      </p:pic>
      <p:pic>
        <p:nvPicPr>
          <p:cNvPr id="19" name="Immagine 18" descr="Immagine che contiene testo, segnale&#10;&#10;Descrizione generata automaticamente">
            <a:extLst>
              <a:ext uri="{FF2B5EF4-FFF2-40B4-BE49-F238E27FC236}">
                <a16:creationId xmlns:a16="http://schemas.microsoft.com/office/drawing/2014/main" id="{F7670545-08DE-4D38-9514-57713FED6699}"/>
              </a:ext>
            </a:extLst>
          </p:cNvPr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6120" y="4828762"/>
            <a:ext cx="720000" cy="720000"/>
          </a:xfrm>
          <a:prstGeom prst="rect">
            <a:avLst/>
          </a:prstGeom>
        </p:spPr>
      </p:pic>
      <p:pic>
        <p:nvPicPr>
          <p:cNvPr id="21" name="Immagine 20">
            <a:extLst>
              <a:ext uri="{FF2B5EF4-FFF2-40B4-BE49-F238E27FC236}">
                <a16:creationId xmlns:a16="http://schemas.microsoft.com/office/drawing/2014/main" id="{C1914EAF-FCF1-4D42-9C89-249FC9F9B96B}"/>
              </a:ext>
            </a:extLst>
          </p:cNvPr>
          <p:cNvPicPr>
            <a:picLocks noChangeAspect="1"/>
          </p:cNvPicPr>
          <p:nvPr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01031" y="4828762"/>
            <a:ext cx="698058" cy="720000"/>
          </a:xfrm>
          <a:prstGeom prst="rect">
            <a:avLst/>
          </a:prstGeom>
        </p:spPr>
      </p:pic>
      <p:pic>
        <p:nvPicPr>
          <p:cNvPr id="23" name="Immagine 22">
            <a:extLst>
              <a:ext uri="{FF2B5EF4-FFF2-40B4-BE49-F238E27FC236}">
                <a16:creationId xmlns:a16="http://schemas.microsoft.com/office/drawing/2014/main" id="{473C3DA5-1265-4494-B3ED-6AD7ECBD4B95}"/>
              </a:ext>
            </a:extLst>
          </p:cNvPr>
          <p:cNvPicPr>
            <a:picLocks noChangeAspect="1"/>
          </p:cNvPicPr>
          <p:nvPr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96257" y="5645079"/>
            <a:ext cx="680229" cy="720000"/>
          </a:xfrm>
          <a:prstGeom prst="rect">
            <a:avLst/>
          </a:prstGeom>
        </p:spPr>
      </p:pic>
      <p:pic>
        <p:nvPicPr>
          <p:cNvPr id="29" name="Immagine 28">
            <a:extLst>
              <a:ext uri="{FF2B5EF4-FFF2-40B4-BE49-F238E27FC236}">
                <a16:creationId xmlns:a16="http://schemas.microsoft.com/office/drawing/2014/main" id="{24056D2B-CBA2-4B3D-9F22-F3808407178A}"/>
              </a:ext>
            </a:extLst>
          </p:cNvPr>
          <p:cNvPicPr>
            <a:picLocks noChangeAspect="1"/>
          </p:cNvPicPr>
          <p:nvPr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65432" y="2455170"/>
            <a:ext cx="720000" cy="720000"/>
          </a:xfrm>
          <a:prstGeom prst="rect">
            <a:avLst/>
          </a:prstGeom>
        </p:spPr>
      </p:pic>
      <p:sp>
        <p:nvSpPr>
          <p:cNvPr id="67" name="CasellaDiTesto 66">
            <a:extLst>
              <a:ext uri="{FF2B5EF4-FFF2-40B4-BE49-F238E27FC236}">
                <a16:creationId xmlns:a16="http://schemas.microsoft.com/office/drawing/2014/main" id="{E3E7FE6A-B05A-40B7-9B87-3E3EB3768422}"/>
              </a:ext>
            </a:extLst>
          </p:cNvPr>
          <p:cNvSpPr txBox="1"/>
          <p:nvPr/>
        </p:nvSpPr>
        <p:spPr>
          <a:xfrm>
            <a:off x="845501" y="5687866"/>
            <a:ext cx="1215207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000" b="0" i="0" u="none" strike="noStrike" kern="1200" cap="none" spc="0" normalizeH="0" baseline="0" noProof="0" dirty="0">
                <a:ln>
                  <a:noFill/>
                </a:ln>
                <a:solidFill>
                  <a:srgbClr val="00946E"/>
                </a:solidFill>
                <a:effectLst/>
                <a:uLnTx/>
                <a:uFillTx/>
                <a:latin typeface="Bahnschrift Light SemiCondensed" panose="020B0502040204020203" pitchFamily="34" charset="0"/>
                <a:cs typeface="Arial" panose="020B0604020202020204" pitchFamily="34" charset="0"/>
              </a:rPr>
              <a:t>51% FEA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000" b="0" i="0" u="none" strike="noStrike" kern="1200" cap="none" spc="0" normalizeH="0" baseline="0" noProof="0" dirty="0">
                <a:ln>
                  <a:noFill/>
                </a:ln>
                <a:solidFill>
                  <a:srgbClr val="30636E"/>
                </a:solidFill>
                <a:effectLst/>
                <a:uLnTx/>
                <a:uFillTx/>
                <a:latin typeface="Bahnschrift Light SemiCondensed" panose="020B0502040204020203" pitchFamily="34" charset="0"/>
                <a:cs typeface="Arial" panose="020B0604020202020204" pitchFamily="34" charset="0"/>
              </a:rPr>
              <a:t>Gestione termovalorizzatore Granarolo (BO)</a:t>
            </a:r>
          </a:p>
        </p:txBody>
      </p:sp>
      <p:sp>
        <p:nvSpPr>
          <p:cNvPr id="62" name="CasellaDiTesto 61">
            <a:extLst>
              <a:ext uri="{FF2B5EF4-FFF2-40B4-BE49-F238E27FC236}">
                <a16:creationId xmlns:a16="http://schemas.microsoft.com/office/drawing/2014/main" id="{B14D0CA8-18DF-4211-9A03-445CD3968D89}"/>
              </a:ext>
            </a:extLst>
          </p:cNvPr>
          <p:cNvSpPr txBox="1"/>
          <p:nvPr/>
        </p:nvSpPr>
        <p:spPr>
          <a:xfrm>
            <a:off x="4801561" y="5687866"/>
            <a:ext cx="1468316" cy="5539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000" b="0" i="0" u="none" strike="noStrike" kern="1200" cap="none" spc="0" normalizeH="0" baseline="0" noProof="0" dirty="0">
                <a:ln>
                  <a:noFill/>
                </a:ln>
                <a:solidFill>
                  <a:srgbClr val="30636E"/>
                </a:solidFill>
                <a:effectLst/>
                <a:uLnTx/>
                <a:uFillTx/>
                <a:latin typeface="Bahnschrift Light SemiCondensed" panose="020B0502040204020203" pitchFamily="34" charset="0"/>
                <a:cs typeface="Arial" panose="020B0604020202020204" pitchFamily="34" charset="0"/>
              </a:rPr>
              <a:t>50% ENOMONDO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000" b="0" i="0" u="none" strike="noStrike" kern="1200" cap="none" spc="0" normalizeH="0" baseline="0" noProof="0" dirty="0">
                <a:ln>
                  <a:noFill/>
                </a:ln>
                <a:solidFill>
                  <a:srgbClr val="30636E"/>
                </a:solidFill>
                <a:effectLst/>
                <a:uLnTx/>
                <a:uFillTx/>
                <a:latin typeface="Bahnschrift Light SemiCondensed" panose="020B0502040204020203" pitchFamily="34" charset="0"/>
                <a:cs typeface="Arial" panose="020B0604020202020204" pitchFamily="34" charset="0"/>
              </a:rPr>
              <a:t>Gestione impianto a biomasse Faenza (RA)</a:t>
            </a:r>
          </a:p>
        </p:txBody>
      </p:sp>
      <p:sp>
        <p:nvSpPr>
          <p:cNvPr id="63" name="CasellaDiTesto 62">
            <a:extLst>
              <a:ext uri="{FF2B5EF4-FFF2-40B4-BE49-F238E27FC236}">
                <a16:creationId xmlns:a16="http://schemas.microsoft.com/office/drawing/2014/main" id="{A86C6567-4D42-4B05-9DBA-022B471431DC}"/>
              </a:ext>
            </a:extLst>
          </p:cNvPr>
          <p:cNvSpPr txBox="1"/>
          <p:nvPr/>
        </p:nvSpPr>
        <p:spPr>
          <a:xfrm>
            <a:off x="2606336" y="4828762"/>
            <a:ext cx="1507285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000" b="0" i="0" u="none" strike="noStrike" kern="1200" cap="none" spc="0" normalizeH="0" baseline="0" noProof="0" dirty="0">
                <a:ln>
                  <a:noFill/>
                </a:ln>
                <a:solidFill>
                  <a:srgbClr val="009770"/>
                </a:solidFill>
                <a:effectLst/>
                <a:uLnTx/>
                <a:uFillTx/>
                <a:latin typeface="Bahnschrift Light SemiCondensed" panose="020B0502040204020203" pitchFamily="34" charset="0"/>
                <a:cs typeface="Arial" panose="020B0604020202020204" pitchFamily="34" charset="0"/>
              </a:rPr>
              <a:t>70% BIORG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000" b="0" i="0" u="none" strike="noStrike" kern="1200" cap="none" spc="0" normalizeH="0" baseline="0" noProof="0" dirty="0">
                <a:ln>
                  <a:noFill/>
                </a:ln>
                <a:solidFill>
                  <a:srgbClr val="30636E"/>
                </a:solidFill>
                <a:effectLst/>
                <a:uLnTx/>
                <a:uFillTx/>
                <a:latin typeface="Bahnschrift Light SemiCondensed" panose="020B0502040204020203" pitchFamily="34" charset="0"/>
                <a:cs typeface="Arial" panose="020B0604020202020204" pitchFamily="34" charset="0"/>
              </a:rPr>
              <a:t>Joint venture con </a:t>
            </a:r>
            <a:r>
              <a:rPr kumimoji="0" lang="it-IT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30636E"/>
                </a:solidFill>
                <a:effectLst/>
                <a:uLnTx/>
                <a:uFillTx/>
                <a:latin typeface="Bahnschrift Light SemiCondensed" panose="020B0502040204020203" pitchFamily="34" charset="0"/>
                <a:cs typeface="Arial" panose="020B0604020202020204" pitchFamily="34" charset="0"/>
              </a:rPr>
              <a:t>Inalca</a:t>
            </a:r>
            <a:r>
              <a:rPr kumimoji="0" lang="it-IT" sz="1000" b="0" i="0" u="none" strike="noStrike" kern="1200" cap="none" spc="0" normalizeH="0" baseline="0" noProof="0" dirty="0">
                <a:ln>
                  <a:noFill/>
                </a:ln>
                <a:solidFill>
                  <a:srgbClr val="30636E"/>
                </a:solidFill>
                <a:effectLst/>
                <a:uLnTx/>
                <a:uFillTx/>
                <a:latin typeface="Bahnschrift Light SemiCondensed" panose="020B0502040204020203" pitchFamily="34" charset="0"/>
                <a:cs typeface="Arial" panose="020B0604020202020204" pitchFamily="34" charset="0"/>
              </a:rPr>
              <a:t> per la produzione di biometano e compost (MO)</a:t>
            </a:r>
          </a:p>
        </p:txBody>
      </p:sp>
      <p:sp>
        <p:nvSpPr>
          <p:cNvPr id="65" name="CasellaDiTesto 64">
            <a:extLst>
              <a:ext uri="{FF2B5EF4-FFF2-40B4-BE49-F238E27FC236}">
                <a16:creationId xmlns:a16="http://schemas.microsoft.com/office/drawing/2014/main" id="{57BCCEFA-CCB4-4710-BA36-D2E4E805B5A7}"/>
              </a:ext>
            </a:extLst>
          </p:cNvPr>
          <p:cNvSpPr txBox="1"/>
          <p:nvPr/>
        </p:nvSpPr>
        <p:spPr>
          <a:xfrm>
            <a:off x="845501" y="4828762"/>
            <a:ext cx="1318749" cy="5539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000" b="0" i="0" u="none" strike="noStrike" kern="1200" cap="none" spc="0" normalizeH="0" baseline="0" noProof="0" dirty="0">
                <a:ln>
                  <a:noFill/>
                </a:ln>
                <a:solidFill>
                  <a:srgbClr val="009770"/>
                </a:solidFill>
                <a:effectLst/>
                <a:uLnTx/>
                <a:uFillTx/>
                <a:latin typeface="Bahnschrift Light SemiCondensed" panose="020B0502040204020203" pitchFamily="34" charset="0"/>
                <a:cs typeface="Arial" panose="020B0604020202020204" pitchFamily="34" charset="0"/>
              </a:rPr>
              <a:t>100% FERONIA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000" b="0" i="0" u="none" strike="noStrike" kern="1200" cap="none" spc="0" normalizeH="0" baseline="0" noProof="0" dirty="0">
                <a:ln>
                  <a:noFill/>
                </a:ln>
                <a:solidFill>
                  <a:srgbClr val="30636E"/>
                </a:solidFill>
                <a:effectLst/>
                <a:uLnTx/>
                <a:uFillTx/>
                <a:latin typeface="Bahnschrift Light SemiCondensed" panose="020B0502040204020203" pitchFamily="34" charset="0"/>
                <a:cs typeface="Arial" panose="020B0604020202020204" pitchFamily="34" charset="0"/>
              </a:rPr>
              <a:t>Gestione discarica Finale Emilia (MO)</a:t>
            </a:r>
          </a:p>
        </p:txBody>
      </p:sp>
      <p:sp>
        <p:nvSpPr>
          <p:cNvPr id="69" name="CasellaDiTesto 68">
            <a:extLst>
              <a:ext uri="{FF2B5EF4-FFF2-40B4-BE49-F238E27FC236}">
                <a16:creationId xmlns:a16="http://schemas.microsoft.com/office/drawing/2014/main" id="{02366254-2D76-464E-B301-FA6B80EC1419}"/>
              </a:ext>
            </a:extLst>
          </p:cNvPr>
          <p:cNvSpPr txBox="1"/>
          <p:nvPr/>
        </p:nvSpPr>
        <p:spPr>
          <a:xfrm>
            <a:off x="4801561" y="4826732"/>
            <a:ext cx="1500331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000" b="0" i="0" u="none" strike="noStrike" kern="1200" cap="none" spc="0" normalizeH="0" baseline="0" noProof="0" dirty="0">
                <a:ln>
                  <a:noFill/>
                </a:ln>
                <a:solidFill>
                  <a:srgbClr val="00946E"/>
                </a:solidFill>
                <a:effectLst/>
                <a:uLnTx/>
                <a:uFillTx/>
                <a:latin typeface="Bahnschrift Light SemiCondensed" panose="020B0502040204020203" pitchFamily="34" charset="0"/>
                <a:cs typeface="Arial" panose="020B0604020202020204" pitchFamily="34" charset="0"/>
              </a:rPr>
              <a:t>70% HESTAMBIENT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000" b="0" i="0" u="none" strike="noStrike" kern="1200" cap="none" spc="0" normalizeH="0" baseline="0" noProof="0" dirty="0">
                <a:ln>
                  <a:noFill/>
                </a:ln>
                <a:solidFill>
                  <a:srgbClr val="30636E"/>
                </a:solidFill>
                <a:effectLst/>
                <a:uLnTx/>
                <a:uFillTx/>
                <a:latin typeface="Bahnschrift Light SemiCondensed" panose="020B0502040204020203" pitchFamily="34" charset="0"/>
                <a:cs typeface="Arial" panose="020B0604020202020204" pitchFamily="34" charset="0"/>
              </a:rPr>
              <a:t>Gestione termovalorizzatori Trieste e Padova</a:t>
            </a:r>
          </a:p>
        </p:txBody>
      </p:sp>
      <p:sp>
        <p:nvSpPr>
          <p:cNvPr id="70" name="CasellaDiTesto 69">
            <a:extLst>
              <a:ext uri="{FF2B5EF4-FFF2-40B4-BE49-F238E27FC236}">
                <a16:creationId xmlns:a16="http://schemas.microsoft.com/office/drawing/2014/main" id="{45901802-349B-4273-83CC-4B98DF58A19E}"/>
              </a:ext>
            </a:extLst>
          </p:cNvPr>
          <p:cNvSpPr txBox="1"/>
          <p:nvPr/>
        </p:nvSpPr>
        <p:spPr>
          <a:xfrm>
            <a:off x="2606336" y="5687866"/>
            <a:ext cx="1500331" cy="5539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000" b="0" i="0" u="none" strike="noStrike" kern="1200" cap="none" spc="0" normalizeH="0" baseline="0" noProof="0" dirty="0">
                <a:ln>
                  <a:noFill/>
                </a:ln>
                <a:solidFill>
                  <a:srgbClr val="00946E"/>
                </a:solidFill>
                <a:effectLst/>
                <a:uLnTx/>
                <a:uFillTx/>
                <a:latin typeface="Bahnschrift Light SemiCondensed" panose="020B0502040204020203" pitchFamily="34" charset="0"/>
                <a:cs typeface="Arial" panose="020B0604020202020204" pitchFamily="34" charset="0"/>
              </a:rPr>
              <a:t>51% ASA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000" b="0" i="0" u="none" strike="noStrike" kern="1200" cap="none" spc="0" normalizeH="0" baseline="0" noProof="0" dirty="0">
                <a:ln>
                  <a:noFill/>
                </a:ln>
                <a:solidFill>
                  <a:srgbClr val="30636E"/>
                </a:solidFill>
                <a:effectLst/>
                <a:uLnTx/>
                <a:uFillTx/>
                <a:latin typeface="Bahnschrift Light SemiCondensed" panose="020B0502040204020203" pitchFamily="34" charset="0"/>
                <a:cs typeface="Arial" panose="020B0604020202020204" pitchFamily="34" charset="0"/>
              </a:rPr>
              <a:t>Gestione discarica Castelmaggiore (BO)</a:t>
            </a:r>
          </a:p>
        </p:txBody>
      </p:sp>
      <p:sp>
        <p:nvSpPr>
          <p:cNvPr id="72" name="CasellaDiTesto 71">
            <a:extLst>
              <a:ext uri="{FF2B5EF4-FFF2-40B4-BE49-F238E27FC236}">
                <a16:creationId xmlns:a16="http://schemas.microsoft.com/office/drawing/2014/main" id="{90099659-8C99-443A-8375-13A109083C2C}"/>
              </a:ext>
            </a:extLst>
          </p:cNvPr>
          <p:cNvSpPr txBox="1"/>
          <p:nvPr/>
        </p:nvSpPr>
        <p:spPr>
          <a:xfrm>
            <a:off x="8487707" y="3923145"/>
            <a:ext cx="1464278" cy="86177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000" b="0" i="0" u="none" strike="noStrike" kern="1200" cap="none" spc="0" normalizeH="0" baseline="0" noProof="0" dirty="0">
                <a:ln>
                  <a:noFill/>
                </a:ln>
                <a:solidFill>
                  <a:srgbClr val="00946E"/>
                </a:solidFill>
                <a:effectLst/>
                <a:uLnTx/>
                <a:uFillTx/>
                <a:latin typeface="Bahnschrift Light SemiCondensed" panose="020B0502040204020203" pitchFamily="34" charset="0"/>
                <a:cs typeface="Arial" panose="020B0604020202020204" pitchFamily="34" charset="0"/>
              </a:rPr>
              <a:t>80% VALLORTIGARA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000" b="0" i="0" u="none" strike="noStrike" kern="1200" cap="none" spc="0" normalizeH="0" baseline="0" noProof="0" dirty="0">
                <a:ln>
                  <a:noFill/>
                </a:ln>
                <a:solidFill>
                  <a:srgbClr val="30636E"/>
                </a:solidFill>
                <a:effectLst/>
                <a:uLnTx/>
                <a:uFillTx/>
                <a:latin typeface="Bahnschrift Light SemiCondensed" panose="020B0502040204020203" pitchFamily="34" charset="0"/>
                <a:cs typeface="Arial" panose="020B0604020202020204" pitchFamily="34" charset="0"/>
              </a:rPr>
              <a:t>Gestione piattaforme </a:t>
            </a:r>
            <a:r>
              <a:rPr kumimoji="0" lang="it-IT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30636E"/>
                </a:solidFill>
                <a:effectLst/>
                <a:uLnTx/>
                <a:uFillTx/>
                <a:latin typeface="Bahnschrift Light SemiCondensed" panose="020B0502040204020203" pitchFamily="34" charset="0"/>
                <a:cs typeface="Arial" panose="020B0604020202020204" pitchFamily="34" charset="0"/>
              </a:rPr>
              <a:t>polifunziona</a:t>
            </a:r>
            <a:r>
              <a:rPr kumimoji="0" lang="it-IT" sz="1000" b="0" i="0" u="none" strike="noStrike" kern="1200" cap="none" spc="0" normalizeH="0" baseline="0" noProof="0" dirty="0">
                <a:ln>
                  <a:noFill/>
                </a:ln>
                <a:solidFill>
                  <a:srgbClr val="30636E"/>
                </a:solidFill>
                <a:effectLst/>
                <a:uLnTx/>
                <a:uFillTx/>
                <a:latin typeface="Bahnschrift Light SemiCondensed" panose="020B0502040204020203" pitchFamily="34" charset="0"/>
                <a:cs typeface="Arial" panose="020B0604020202020204" pitchFamily="34" charset="0"/>
              </a:rPr>
              <a:t>li Torrebelvicino e Marano Vicentino (VI)</a:t>
            </a:r>
          </a:p>
        </p:txBody>
      </p:sp>
      <p:sp>
        <p:nvSpPr>
          <p:cNvPr id="74" name="CasellaDiTesto 73">
            <a:extLst>
              <a:ext uri="{FF2B5EF4-FFF2-40B4-BE49-F238E27FC236}">
                <a16:creationId xmlns:a16="http://schemas.microsoft.com/office/drawing/2014/main" id="{6A7EB4D4-A3BF-490C-97C1-C3803BFB45CA}"/>
              </a:ext>
            </a:extLst>
          </p:cNvPr>
          <p:cNvSpPr txBox="1"/>
          <p:nvPr/>
        </p:nvSpPr>
        <p:spPr>
          <a:xfrm>
            <a:off x="8487707" y="3211916"/>
            <a:ext cx="1542155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000" b="0" i="0" u="none" strike="noStrike" kern="1200" cap="none" spc="0" normalizeH="0" baseline="0" noProof="0" dirty="0">
                <a:ln>
                  <a:noFill/>
                </a:ln>
                <a:solidFill>
                  <a:srgbClr val="00946E"/>
                </a:solidFill>
                <a:effectLst/>
                <a:uLnTx/>
                <a:uFillTx/>
                <a:latin typeface="Bahnschrift Light SemiCondensed" panose="020B0502040204020203" pitchFamily="34" charset="0"/>
                <a:cs typeface="Arial" panose="020B0604020202020204" pitchFamily="34" charset="0"/>
              </a:rPr>
              <a:t>100% RECYCLA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000" b="0" i="0" u="none" strike="noStrike" kern="1200" cap="none" spc="0" normalizeH="0" baseline="0" noProof="0" dirty="0">
                <a:ln>
                  <a:noFill/>
                </a:ln>
                <a:solidFill>
                  <a:srgbClr val="30636E"/>
                </a:solidFill>
                <a:effectLst/>
                <a:uLnTx/>
                <a:uFillTx/>
                <a:latin typeface="Bahnschrift Light SemiCondensed" panose="020B0502040204020203" pitchFamily="34" charset="0"/>
                <a:cs typeface="Arial" panose="020B0604020202020204" pitchFamily="34" charset="0"/>
              </a:rPr>
              <a:t>Gestione piattaforma polifunzionale Maniago (PN)</a:t>
            </a:r>
          </a:p>
        </p:txBody>
      </p:sp>
      <p:sp>
        <p:nvSpPr>
          <p:cNvPr id="79" name="CasellaDiTesto 78">
            <a:extLst>
              <a:ext uri="{FF2B5EF4-FFF2-40B4-BE49-F238E27FC236}">
                <a16:creationId xmlns:a16="http://schemas.microsoft.com/office/drawing/2014/main" id="{3CBC53E5-45C0-41BA-899E-1E69C7FAA1F1}"/>
              </a:ext>
            </a:extLst>
          </p:cNvPr>
          <p:cNvSpPr txBox="1"/>
          <p:nvPr/>
        </p:nvSpPr>
        <p:spPr>
          <a:xfrm>
            <a:off x="9076609" y="2594272"/>
            <a:ext cx="2832931" cy="4154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000" b="0" i="0" u="none" strike="noStrike" kern="1200" cap="none" spc="0" normalizeH="0" baseline="0" noProof="0" dirty="0">
                <a:ln>
                  <a:noFill/>
                </a:ln>
                <a:solidFill>
                  <a:srgbClr val="30636E"/>
                </a:solidFill>
                <a:effectLst/>
                <a:uLnTx/>
                <a:uFillTx/>
                <a:latin typeface="Bahnschrift Light SemiCondensed" panose="020B0502040204020203" pitchFamily="34" charset="0"/>
                <a:cs typeface="Arial" panose="020B0604020202020204" pitchFamily="34" charset="0"/>
              </a:rPr>
              <a:t>31% TREMONTI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000" b="0" i="0" u="none" strike="noStrike" kern="1200" cap="none" spc="0" normalizeH="0" baseline="0" noProof="0" dirty="0">
                <a:ln>
                  <a:noFill/>
                </a:ln>
                <a:solidFill>
                  <a:srgbClr val="30636E"/>
                </a:solidFill>
                <a:effectLst/>
                <a:uLnTx/>
                <a:uFillTx/>
                <a:latin typeface="Bahnschrift Light SemiCondensed" panose="020B0502040204020203" pitchFamily="34" charset="0"/>
                <a:cs typeface="Arial" panose="020B0604020202020204" pitchFamily="34" charset="0"/>
              </a:rPr>
              <a:t>Servizi di bonifica Bussi sul Tirino (PE)</a:t>
            </a:r>
          </a:p>
        </p:txBody>
      </p:sp>
      <p:sp>
        <p:nvSpPr>
          <p:cNvPr id="42" name="CasellaDiTesto 41">
            <a:extLst>
              <a:ext uri="{FF2B5EF4-FFF2-40B4-BE49-F238E27FC236}">
                <a16:creationId xmlns:a16="http://schemas.microsoft.com/office/drawing/2014/main" id="{36B29326-C845-4C8F-85D3-303B0424E994}"/>
              </a:ext>
            </a:extLst>
          </p:cNvPr>
          <p:cNvSpPr txBox="1"/>
          <p:nvPr/>
        </p:nvSpPr>
        <p:spPr>
          <a:xfrm>
            <a:off x="8465081" y="1733917"/>
            <a:ext cx="3444459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000" b="0" i="0" u="none" strike="noStrike" kern="1200" cap="none" spc="0" normalizeH="0" baseline="0" noProof="0">
                <a:ln>
                  <a:noFill/>
                </a:ln>
                <a:solidFill>
                  <a:srgbClr val="00946E"/>
                </a:solidFill>
                <a:effectLst/>
                <a:uLnTx/>
                <a:uFillTx/>
                <a:latin typeface="Bahnschrift Light SemiCondensed" panose="020B0502040204020203" pitchFamily="34" charset="0"/>
                <a:cs typeface="Arial" panose="020B0604020202020204" pitchFamily="34" charset="0"/>
              </a:rPr>
              <a:t>59,</a:t>
            </a:r>
            <a:r>
              <a:rPr kumimoji="0" lang="it-IT" sz="1000" b="0" i="0" u="none" strike="noStrike" kern="1200" cap="none" spc="0" normalizeH="0" baseline="0" noProof="0" dirty="0">
                <a:ln>
                  <a:noFill/>
                </a:ln>
                <a:solidFill>
                  <a:srgbClr val="00946E"/>
                </a:solidFill>
                <a:effectLst/>
                <a:uLnTx/>
                <a:uFillTx/>
                <a:latin typeface="Bahnschrift Light SemiCondensed" panose="020B0502040204020203" pitchFamily="34" charset="0"/>
                <a:cs typeface="Arial" panose="020B0604020202020204" pitchFamily="34" charset="0"/>
              </a:rPr>
              <a:t>6</a:t>
            </a:r>
            <a:r>
              <a:rPr kumimoji="0" lang="it-IT" sz="1000" b="0" i="0" u="none" strike="noStrike" kern="1200" cap="none" spc="0" normalizeH="0" baseline="0" noProof="0">
                <a:ln>
                  <a:noFill/>
                </a:ln>
                <a:solidFill>
                  <a:srgbClr val="00946E"/>
                </a:solidFill>
                <a:effectLst/>
                <a:uLnTx/>
                <a:uFillTx/>
                <a:latin typeface="Bahnschrift Light SemiCondensed" panose="020B0502040204020203" pitchFamily="34" charset="0"/>
                <a:cs typeface="Arial" panose="020B0604020202020204" pitchFamily="34" charset="0"/>
              </a:rPr>
              <a:t>% </a:t>
            </a:r>
            <a:r>
              <a:rPr kumimoji="0" lang="it-IT" sz="1000" b="0" i="0" u="none" strike="noStrike" kern="1200" cap="none" spc="0" normalizeH="0" baseline="0" noProof="0" dirty="0">
                <a:ln>
                  <a:noFill/>
                </a:ln>
                <a:solidFill>
                  <a:srgbClr val="00946E"/>
                </a:solidFill>
                <a:effectLst/>
                <a:uLnTx/>
                <a:uFillTx/>
                <a:latin typeface="Bahnschrift Light SemiCondensed" panose="020B0502040204020203" pitchFamily="34" charset="0"/>
                <a:cs typeface="Arial" panose="020B0604020202020204" pitchFamily="34" charset="0"/>
              </a:rPr>
              <a:t>ACR REGGIANI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000" b="0" i="0" u="none" strike="noStrike" kern="1200" cap="none" spc="0" normalizeH="0" baseline="0" noProof="0" dirty="0">
                <a:ln>
                  <a:noFill/>
                </a:ln>
                <a:solidFill>
                  <a:srgbClr val="30636E"/>
                </a:solidFill>
                <a:effectLst/>
                <a:uLnTx/>
                <a:uFillTx/>
                <a:latin typeface="Bahnschrift Light SemiCondensed" panose="020B0502040204020203" pitchFamily="34" charset="0"/>
                <a:cs typeface="Arial" panose="020B0604020202020204" pitchFamily="34" charset="0"/>
              </a:rPr>
              <a:t>Primario operatore nei servizi di bonifica, trattamento di rifiuti industriali, decommissioning di impianti industriali e nei lavori civili legati all’</a:t>
            </a:r>
            <a:r>
              <a:rPr kumimoji="0" lang="it-IT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30636E"/>
                </a:solidFill>
                <a:effectLst/>
                <a:uLnTx/>
                <a:uFillTx/>
                <a:latin typeface="Bahnschrift Light SemiCondensed" panose="020B0502040204020203" pitchFamily="34" charset="0"/>
                <a:cs typeface="Arial" panose="020B0604020202020204" pitchFamily="34" charset="0"/>
              </a:rPr>
              <a:t>oil&amp;gas</a:t>
            </a:r>
            <a:r>
              <a:rPr kumimoji="0" lang="it-IT" sz="1000" b="0" i="0" u="none" strike="noStrike" kern="1200" cap="none" spc="0" normalizeH="0" baseline="0" noProof="0" dirty="0">
                <a:ln>
                  <a:noFill/>
                </a:ln>
                <a:solidFill>
                  <a:srgbClr val="30636E"/>
                </a:solidFill>
                <a:effectLst/>
                <a:uLnTx/>
                <a:uFillTx/>
                <a:latin typeface="Bahnschrift Light SemiCondensed" panose="020B0502040204020203" pitchFamily="34" charset="0"/>
                <a:cs typeface="Arial" panose="020B0604020202020204" pitchFamily="34" charset="0"/>
              </a:rPr>
              <a:t> (MO).</a:t>
            </a:r>
          </a:p>
        </p:txBody>
      </p:sp>
      <p:sp>
        <p:nvSpPr>
          <p:cNvPr id="44" name="Ovale 43">
            <a:extLst>
              <a:ext uri="{FF2B5EF4-FFF2-40B4-BE49-F238E27FC236}">
                <a16:creationId xmlns:a16="http://schemas.microsoft.com/office/drawing/2014/main" id="{8F267852-EB8E-424E-B1AA-F4EF0817B597}"/>
              </a:ext>
            </a:extLst>
          </p:cNvPr>
          <p:cNvSpPr/>
          <p:nvPr/>
        </p:nvSpPr>
        <p:spPr>
          <a:xfrm>
            <a:off x="8024757" y="1835077"/>
            <a:ext cx="432000" cy="468000"/>
          </a:xfrm>
          <a:prstGeom prst="ellipse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Bahnschrift Light SemiCondensed" panose="020B0502040204020203" pitchFamily="34" charset="0"/>
            </a:endParaRPr>
          </a:p>
        </p:txBody>
      </p:sp>
      <p:grpSp>
        <p:nvGrpSpPr>
          <p:cNvPr id="28" name="Gruppo 27">
            <a:extLst>
              <a:ext uri="{FF2B5EF4-FFF2-40B4-BE49-F238E27FC236}">
                <a16:creationId xmlns:a16="http://schemas.microsoft.com/office/drawing/2014/main" id="{238295B6-DE8D-F9B8-01CE-81BE5C1007D8}"/>
              </a:ext>
            </a:extLst>
          </p:cNvPr>
          <p:cNvGrpSpPr/>
          <p:nvPr/>
        </p:nvGrpSpPr>
        <p:grpSpPr>
          <a:xfrm>
            <a:off x="7876697" y="1733917"/>
            <a:ext cx="698706" cy="720000"/>
            <a:chOff x="8025557" y="2372092"/>
            <a:chExt cx="698706" cy="720000"/>
          </a:xfrm>
        </p:grpSpPr>
        <p:pic>
          <p:nvPicPr>
            <p:cNvPr id="41" name="Immagine 40">
              <a:extLst>
                <a:ext uri="{FF2B5EF4-FFF2-40B4-BE49-F238E27FC236}">
                  <a16:creationId xmlns:a16="http://schemas.microsoft.com/office/drawing/2014/main" id="{A370BAFD-8A8E-4732-BA00-284CBC6A97D4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025557" y="2372092"/>
              <a:ext cx="698706" cy="720000"/>
            </a:xfrm>
            <a:prstGeom prst="rect">
              <a:avLst/>
            </a:prstGeom>
          </p:spPr>
        </p:pic>
        <p:pic>
          <p:nvPicPr>
            <p:cNvPr id="2050" name="Picture 2" descr="acrreggiani Publisher Publications - Issuu">
              <a:extLst>
                <a:ext uri="{FF2B5EF4-FFF2-40B4-BE49-F238E27FC236}">
                  <a16:creationId xmlns:a16="http://schemas.microsoft.com/office/drawing/2014/main" id="{FA27BA5D-BA29-4E52-9F7D-81B6212B8A74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8186596" y="2600972"/>
              <a:ext cx="344709" cy="22393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8" name="CasellaDiTesto 7">
            <a:extLst>
              <a:ext uri="{FF2B5EF4-FFF2-40B4-BE49-F238E27FC236}">
                <a16:creationId xmlns:a16="http://schemas.microsoft.com/office/drawing/2014/main" id="{B16573EF-0D13-2643-3EBF-47649381C1F1}"/>
              </a:ext>
            </a:extLst>
          </p:cNvPr>
          <p:cNvSpPr txBox="1"/>
          <p:nvPr/>
        </p:nvSpPr>
        <p:spPr>
          <a:xfrm>
            <a:off x="382135" y="6507929"/>
            <a:ext cx="4494351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900" b="0" i="1" u="none" strike="noStrike" kern="1200" cap="none" spc="0" normalizeH="0" baseline="0" noProof="0" dirty="0">
                <a:ln>
                  <a:noFill/>
                </a:ln>
                <a:solidFill>
                  <a:srgbClr val="30636E"/>
                </a:solidFill>
                <a:effectLst/>
                <a:uLnTx/>
                <a:uFillTx/>
                <a:latin typeface="Bahnschrift Light SemiCondensed" panose="020B0502040204020203" pitchFamily="34" charset="0"/>
                <a:cs typeface="Arial" panose="020B0604020202020204" pitchFamily="34" charset="0"/>
              </a:rPr>
              <a:t>Dati anno 2025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900" b="0" i="1" u="none" strike="noStrike" kern="1200" cap="none" spc="0" normalizeH="0" baseline="0" noProof="0" dirty="0">
                <a:ln>
                  <a:noFill/>
                </a:ln>
                <a:solidFill>
                  <a:srgbClr val="30636E"/>
                </a:solidFill>
                <a:effectLst/>
                <a:uLnTx/>
                <a:uFillTx/>
                <a:latin typeface="Bahnschrift Light SemiCondensed" panose="020B0502040204020203" pitchFamily="34" charset="0"/>
                <a:cs typeface="Arial" panose="020B0604020202020204" pitchFamily="34" charset="0"/>
              </a:rPr>
              <a:t>* A integrazione, società partecipata al 5% anche da ACR.</a:t>
            </a:r>
          </a:p>
        </p:txBody>
      </p:sp>
      <p:grpSp>
        <p:nvGrpSpPr>
          <p:cNvPr id="16" name="Gruppo 15">
            <a:extLst>
              <a:ext uri="{FF2B5EF4-FFF2-40B4-BE49-F238E27FC236}">
                <a16:creationId xmlns:a16="http://schemas.microsoft.com/office/drawing/2014/main" id="{AE273C51-9B21-66FD-CFD9-615657237F64}"/>
              </a:ext>
            </a:extLst>
          </p:cNvPr>
          <p:cNvGrpSpPr/>
          <p:nvPr/>
        </p:nvGrpSpPr>
        <p:grpSpPr>
          <a:xfrm>
            <a:off x="7828212" y="3185319"/>
            <a:ext cx="720000" cy="720000"/>
            <a:chOff x="10829300" y="1932166"/>
            <a:chExt cx="720000" cy="720000"/>
          </a:xfrm>
        </p:grpSpPr>
        <p:grpSp>
          <p:nvGrpSpPr>
            <p:cNvPr id="14" name="Gruppo 13">
              <a:extLst>
                <a:ext uri="{FF2B5EF4-FFF2-40B4-BE49-F238E27FC236}">
                  <a16:creationId xmlns:a16="http://schemas.microsoft.com/office/drawing/2014/main" id="{35502A49-75A6-4CD5-A624-7895CF7ADC5A}"/>
                </a:ext>
              </a:extLst>
            </p:cNvPr>
            <p:cNvGrpSpPr/>
            <p:nvPr/>
          </p:nvGrpSpPr>
          <p:grpSpPr>
            <a:xfrm>
              <a:off x="10829300" y="1932166"/>
              <a:ext cx="720000" cy="720000"/>
              <a:chOff x="10829300" y="1932166"/>
              <a:chExt cx="720000" cy="720000"/>
            </a:xfrm>
          </p:grpSpPr>
          <p:pic>
            <p:nvPicPr>
              <p:cNvPr id="4" name="Immagine 3" descr="Immagine che contiene testo, segnale&#10;&#10;Descrizione generata automaticamente">
                <a:extLst>
                  <a:ext uri="{FF2B5EF4-FFF2-40B4-BE49-F238E27FC236}">
                    <a16:creationId xmlns:a16="http://schemas.microsoft.com/office/drawing/2014/main" id="{F8754520-2364-D337-8598-7A0FBF94C0B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10829300" y="1932166"/>
                <a:ext cx="720000" cy="720000"/>
              </a:xfrm>
              <a:prstGeom prst="rect">
                <a:avLst/>
              </a:prstGeom>
            </p:spPr>
          </p:pic>
          <p:sp>
            <p:nvSpPr>
              <p:cNvPr id="5" name="Ovale 4">
                <a:extLst>
                  <a:ext uri="{FF2B5EF4-FFF2-40B4-BE49-F238E27FC236}">
                    <a16:creationId xmlns:a16="http://schemas.microsoft.com/office/drawing/2014/main" id="{139C6271-C5D3-5EB6-A024-0D5B1D6BA912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10966878" y="2076825"/>
                <a:ext cx="378061" cy="378061"/>
              </a:xfrm>
              <a:prstGeom prst="ellipse">
                <a:avLst/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20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Bahnschrift Light SemiCondensed" panose="020B0502040204020203" pitchFamily="34" charset="0"/>
                </a:endParaRPr>
              </a:p>
            </p:txBody>
          </p:sp>
        </p:grpSp>
        <p:pic>
          <p:nvPicPr>
            <p:cNvPr id="13" name="Immagine 12" descr="Immagine che contiene testo, Carattere, Elementi grafici, logo&#10;&#10;Descrizione generata automaticamente">
              <a:extLst>
                <a:ext uri="{FF2B5EF4-FFF2-40B4-BE49-F238E27FC236}">
                  <a16:creationId xmlns:a16="http://schemas.microsoft.com/office/drawing/2014/main" id="{6EA9AE7C-1389-B9F8-C630-3CDEB2E00122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 cstate="screen">
              <a:clrChange>
                <a:clrFrom>
                  <a:srgbClr val="FFFEFD"/>
                </a:clrFrom>
                <a:clrTo>
                  <a:srgbClr val="FFFEFD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0973654" y="2235397"/>
              <a:ext cx="378061" cy="60379"/>
            </a:xfrm>
            <a:prstGeom prst="rect">
              <a:avLst/>
            </a:prstGeom>
          </p:spPr>
        </p:pic>
      </p:grpSp>
      <p:cxnSp>
        <p:nvCxnSpPr>
          <p:cNvPr id="18" name="Connettore 2 17">
            <a:extLst>
              <a:ext uri="{FF2B5EF4-FFF2-40B4-BE49-F238E27FC236}">
                <a16:creationId xmlns:a16="http://schemas.microsoft.com/office/drawing/2014/main" id="{2EBDD443-F814-6C97-F375-EFECA835F00B}"/>
              </a:ext>
            </a:extLst>
          </p:cNvPr>
          <p:cNvCxnSpPr>
            <a:cxnSpLocks/>
            <a:stCxn id="41" idx="2"/>
            <a:endCxn id="29" idx="1"/>
          </p:cNvCxnSpPr>
          <p:nvPr/>
        </p:nvCxnSpPr>
        <p:spPr>
          <a:xfrm>
            <a:off x="8226050" y="2453917"/>
            <a:ext cx="239382" cy="361253"/>
          </a:xfrm>
          <a:prstGeom prst="straightConnector1">
            <a:avLst/>
          </a:prstGeom>
          <a:ln>
            <a:solidFill>
              <a:srgbClr val="45AE92"/>
            </a:solidFill>
            <a:prstDash val="sysDot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4" name="Ovale 23">
            <a:extLst>
              <a:ext uri="{FF2B5EF4-FFF2-40B4-BE49-F238E27FC236}">
                <a16:creationId xmlns:a16="http://schemas.microsoft.com/office/drawing/2014/main" id="{A5A12234-F9FB-F6AB-644C-124F3AAF8DBF}"/>
              </a:ext>
            </a:extLst>
          </p:cNvPr>
          <p:cNvSpPr/>
          <p:nvPr/>
        </p:nvSpPr>
        <p:spPr>
          <a:xfrm>
            <a:off x="7032465" y="6539265"/>
            <a:ext cx="144000" cy="144000"/>
          </a:xfrm>
          <a:prstGeom prst="ellipse">
            <a:avLst/>
          </a:prstGeom>
          <a:solidFill>
            <a:srgbClr val="00977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2000" b="0" i="0" u="none" strike="noStrike" kern="1200" cap="none" spc="0" normalizeH="0" baseline="0" noProof="0">
              <a:ln>
                <a:noFill/>
              </a:ln>
              <a:solidFill>
                <a:srgbClr val="009770"/>
              </a:solidFill>
              <a:effectLst/>
              <a:uLnTx/>
              <a:uFillTx/>
              <a:latin typeface="Bahnschrift Light SemiCondensed" panose="020B0502040204020203" pitchFamily="34" charset="0"/>
            </a:endParaRPr>
          </a:p>
        </p:txBody>
      </p:sp>
      <p:sp>
        <p:nvSpPr>
          <p:cNvPr id="26" name="Ovale 25">
            <a:extLst>
              <a:ext uri="{FF2B5EF4-FFF2-40B4-BE49-F238E27FC236}">
                <a16:creationId xmlns:a16="http://schemas.microsoft.com/office/drawing/2014/main" id="{9F803A5D-D295-917A-430E-2FD28CB7C441}"/>
              </a:ext>
            </a:extLst>
          </p:cNvPr>
          <p:cNvSpPr/>
          <p:nvPr/>
        </p:nvSpPr>
        <p:spPr>
          <a:xfrm>
            <a:off x="8005717" y="6536299"/>
            <a:ext cx="144000" cy="144000"/>
          </a:xfrm>
          <a:prstGeom prst="ellipse">
            <a:avLst/>
          </a:prstGeom>
          <a:solidFill>
            <a:srgbClr val="2F636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2000" b="0" i="0" u="none" strike="noStrike" kern="1200" cap="none" spc="0" normalizeH="0" baseline="0" noProof="0">
              <a:ln>
                <a:noFill/>
              </a:ln>
              <a:solidFill>
                <a:srgbClr val="009770"/>
              </a:solidFill>
              <a:effectLst/>
              <a:uLnTx/>
              <a:uFillTx/>
              <a:latin typeface="Bahnschrift Light SemiCondensed" panose="020B0502040204020203" pitchFamily="34" charset="0"/>
            </a:endParaRPr>
          </a:p>
        </p:txBody>
      </p:sp>
      <p:sp>
        <p:nvSpPr>
          <p:cNvPr id="30" name="CasellaDiTesto 29">
            <a:extLst>
              <a:ext uri="{FF2B5EF4-FFF2-40B4-BE49-F238E27FC236}">
                <a16:creationId xmlns:a16="http://schemas.microsoft.com/office/drawing/2014/main" id="{2F7BF5A6-9813-E57E-D94F-94EB8B00C528}"/>
              </a:ext>
            </a:extLst>
          </p:cNvPr>
          <p:cNvSpPr txBox="1"/>
          <p:nvPr/>
        </p:nvSpPr>
        <p:spPr>
          <a:xfrm>
            <a:off x="7104465" y="6477615"/>
            <a:ext cx="973252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200" b="0" i="0" u="none" strike="noStrike" kern="1200" cap="none" spc="0" normalizeH="0" baseline="0" noProof="0" dirty="0">
                <a:ln>
                  <a:noFill/>
                </a:ln>
                <a:solidFill>
                  <a:srgbClr val="30636E"/>
                </a:solidFill>
                <a:effectLst/>
                <a:uLnTx/>
                <a:uFillTx/>
                <a:latin typeface="Bahnschrift Light SemiCondensed" panose="020B0502040204020203" pitchFamily="34" charset="0"/>
                <a:cs typeface="Arial" panose="020B0604020202020204" pitchFamily="34" charset="0"/>
              </a:rPr>
              <a:t>Controllate</a:t>
            </a:r>
          </a:p>
        </p:txBody>
      </p:sp>
      <p:sp>
        <p:nvSpPr>
          <p:cNvPr id="32" name="CasellaDiTesto 31">
            <a:extLst>
              <a:ext uri="{FF2B5EF4-FFF2-40B4-BE49-F238E27FC236}">
                <a16:creationId xmlns:a16="http://schemas.microsoft.com/office/drawing/2014/main" id="{46B079DC-D82F-07C7-EBC1-F7EE5F3CD4B8}"/>
              </a:ext>
            </a:extLst>
          </p:cNvPr>
          <p:cNvSpPr txBox="1"/>
          <p:nvPr/>
        </p:nvSpPr>
        <p:spPr>
          <a:xfrm>
            <a:off x="8077717" y="6477615"/>
            <a:ext cx="1034553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200" b="0" i="0" u="none" strike="noStrike" kern="1200" cap="none" spc="0" normalizeH="0" baseline="0" noProof="0" dirty="0">
                <a:ln>
                  <a:noFill/>
                </a:ln>
                <a:solidFill>
                  <a:srgbClr val="30636E"/>
                </a:solidFill>
                <a:effectLst/>
                <a:uLnTx/>
                <a:uFillTx/>
                <a:latin typeface="Bahnschrift Light SemiCondensed" panose="020B0502040204020203" pitchFamily="34" charset="0"/>
                <a:cs typeface="Arial" panose="020B0604020202020204" pitchFamily="34" charset="0"/>
              </a:rPr>
              <a:t>Partecipate</a:t>
            </a:r>
          </a:p>
        </p:txBody>
      </p:sp>
      <p:grpSp>
        <p:nvGrpSpPr>
          <p:cNvPr id="61" name="Gruppo 60">
            <a:extLst>
              <a:ext uri="{FF2B5EF4-FFF2-40B4-BE49-F238E27FC236}">
                <a16:creationId xmlns:a16="http://schemas.microsoft.com/office/drawing/2014/main" id="{5C814090-D61C-F0B8-5DC0-6117AC92DCD0}"/>
              </a:ext>
            </a:extLst>
          </p:cNvPr>
          <p:cNvGrpSpPr/>
          <p:nvPr/>
        </p:nvGrpSpPr>
        <p:grpSpPr>
          <a:xfrm>
            <a:off x="7828212" y="3954318"/>
            <a:ext cx="720000" cy="720000"/>
            <a:chOff x="10047248" y="3796011"/>
            <a:chExt cx="720000" cy="720000"/>
          </a:xfrm>
        </p:grpSpPr>
        <p:grpSp>
          <p:nvGrpSpPr>
            <p:cNvPr id="60" name="Gruppo 59">
              <a:extLst>
                <a:ext uri="{FF2B5EF4-FFF2-40B4-BE49-F238E27FC236}">
                  <a16:creationId xmlns:a16="http://schemas.microsoft.com/office/drawing/2014/main" id="{0E4BA858-4D81-D12C-842C-FACBDFCE9199}"/>
                </a:ext>
              </a:extLst>
            </p:cNvPr>
            <p:cNvGrpSpPr/>
            <p:nvPr/>
          </p:nvGrpSpPr>
          <p:grpSpPr>
            <a:xfrm>
              <a:off x="10047248" y="3796011"/>
              <a:ext cx="720000" cy="720000"/>
              <a:chOff x="10047248" y="3796011"/>
              <a:chExt cx="720000" cy="720000"/>
            </a:xfrm>
          </p:grpSpPr>
          <p:pic>
            <p:nvPicPr>
              <p:cNvPr id="35" name="Immagine 34">
                <a:extLst>
                  <a:ext uri="{FF2B5EF4-FFF2-40B4-BE49-F238E27FC236}">
                    <a16:creationId xmlns:a16="http://schemas.microsoft.com/office/drawing/2014/main" id="{13470FC4-054D-4DD6-9C5E-CBD29A36DC0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6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10047248" y="3796011"/>
                <a:ext cx="720000" cy="720000"/>
              </a:xfrm>
              <a:prstGeom prst="rect">
                <a:avLst/>
              </a:prstGeom>
            </p:spPr>
          </p:pic>
          <p:sp>
            <p:nvSpPr>
              <p:cNvPr id="37" name="Ovale 36">
                <a:extLst>
                  <a:ext uri="{FF2B5EF4-FFF2-40B4-BE49-F238E27FC236}">
                    <a16:creationId xmlns:a16="http://schemas.microsoft.com/office/drawing/2014/main" id="{0669D3F4-B90B-6251-3F47-05E56991AD4C}"/>
                  </a:ext>
                </a:extLst>
              </p:cNvPr>
              <p:cNvSpPr/>
              <p:nvPr/>
            </p:nvSpPr>
            <p:spPr>
              <a:xfrm>
                <a:off x="10166465" y="3989738"/>
                <a:ext cx="461761" cy="332545"/>
              </a:xfrm>
              <a:prstGeom prst="ellipse">
                <a:avLst/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20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Bahnschrift Light SemiCondensed" panose="020B0502040204020203" pitchFamily="34" charset="0"/>
                </a:endParaRPr>
              </a:p>
            </p:txBody>
          </p:sp>
        </p:grpSp>
        <p:pic>
          <p:nvPicPr>
            <p:cNvPr id="36" name="Immagine 35" descr="Immagine che contiene Elementi grafici&#10;&#10;Descrizione generata automaticamente">
              <a:extLst>
                <a:ext uri="{FF2B5EF4-FFF2-40B4-BE49-F238E27FC236}">
                  <a16:creationId xmlns:a16="http://schemas.microsoft.com/office/drawing/2014/main" id="{608C7E89-DD0C-CF1A-32AF-F2CBCB15B81D}"/>
                </a:ext>
              </a:extLst>
            </p:cNvPr>
            <p:cNvPicPr>
              <a:picLocks noChangeAspect="1"/>
            </p:cNvPicPr>
            <p:nvPr/>
          </p:nvPicPr>
          <p:blipFill>
            <a:blip r:embed="rId1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0183439" y="4090279"/>
              <a:ext cx="397403" cy="89900"/>
            </a:xfrm>
            <a:prstGeom prst="rect">
              <a:avLst/>
            </a:prstGeom>
          </p:spPr>
        </p:pic>
      </p:grpSp>
      <p:sp>
        <p:nvSpPr>
          <p:cNvPr id="11" name="CasellaDiTesto 10">
            <a:extLst>
              <a:ext uri="{FF2B5EF4-FFF2-40B4-BE49-F238E27FC236}">
                <a16:creationId xmlns:a16="http://schemas.microsoft.com/office/drawing/2014/main" id="{B19D2460-543D-6629-3743-FBA2C0D4348C}"/>
              </a:ext>
            </a:extLst>
          </p:cNvPr>
          <p:cNvSpPr txBox="1"/>
          <p:nvPr/>
        </p:nvSpPr>
        <p:spPr>
          <a:xfrm>
            <a:off x="10513185" y="3954318"/>
            <a:ext cx="1500331" cy="5539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000" b="0" i="0" u="none" strike="noStrike" kern="1200" cap="none" spc="0" normalizeH="0" baseline="0" noProof="0" dirty="0">
                <a:ln>
                  <a:noFill/>
                </a:ln>
                <a:solidFill>
                  <a:srgbClr val="00946E"/>
                </a:solidFill>
                <a:effectLst/>
                <a:uLnTx/>
                <a:uFillTx/>
                <a:latin typeface="Bahnschrift Light SemiCondensed" panose="020B0502040204020203" pitchFamily="34" charset="0"/>
                <a:cs typeface="Arial" panose="020B0604020202020204" pitchFamily="34" charset="0"/>
              </a:rPr>
              <a:t>70</a:t>
            </a:r>
            <a:r>
              <a:rPr kumimoji="0" lang="it-IT" sz="1000" b="0" i="0" u="none" strike="noStrike" kern="1200" cap="none" spc="0" normalizeH="0" baseline="0" noProof="0">
                <a:ln>
                  <a:noFill/>
                </a:ln>
                <a:solidFill>
                  <a:srgbClr val="00946E"/>
                </a:solidFill>
                <a:effectLst/>
                <a:uLnTx/>
                <a:uFillTx/>
                <a:latin typeface="Bahnschrift Light SemiCondensed" panose="020B0502040204020203" pitchFamily="34" charset="0"/>
                <a:cs typeface="Arial" panose="020B0604020202020204" pitchFamily="34" charset="0"/>
              </a:rPr>
              <a:t>% TRS ECOLOGY</a:t>
            </a:r>
            <a:endParaRPr kumimoji="0" lang="it-IT" sz="1000" b="0" i="0" u="none" strike="noStrike" kern="1200" cap="none" spc="0" normalizeH="0" baseline="0" noProof="0" dirty="0">
              <a:ln>
                <a:noFill/>
              </a:ln>
              <a:solidFill>
                <a:srgbClr val="00946E"/>
              </a:solidFill>
              <a:effectLst/>
              <a:uLnTx/>
              <a:uFillTx/>
              <a:latin typeface="Bahnschrift Light SemiCondensed" panose="020B0502040204020203" pitchFamily="34" charset="0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000" b="0" i="0" u="none" strike="noStrike" kern="1200" cap="none" spc="0" normalizeH="0" baseline="0" noProof="0" dirty="0">
                <a:ln>
                  <a:noFill/>
                </a:ln>
                <a:solidFill>
                  <a:srgbClr val="30636E"/>
                </a:solidFill>
                <a:effectLst/>
                <a:uLnTx/>
                <a:uFillTx/>
                <a:latin typeface="Bahnschrift Light SemiCondensed" panose="020B0502040204020203" pitchFamily="34" charset="0"/>
                <a:cs typeface="Arial" panose="020B0604020202020204" pitchFamily="34" charset="0"/>
              </a:rPr>
              <a:t>Gestione piattaforma polifunzionale Caorso (PC)</a:t>
            </a:r>
          </a:p>
        </p:txBody>
      </p:sp>
      <p:grpSp>
        <p:nvGrpSpPr>
          <p:cNvPr id="34" name="Gruppo 33">
            <a:extLst>
              <a:ext uri="{FF2B5EF4-FFF2-40B4-BE49-F238E27FC236}">
                <a16:creationId xmlns:a16="http://schemas.microsoft.com/office/drawing/2014/main" id="{E6075CC8-9BCB-8E04-6A96-3D0B97C0480A}"/>
              </a:ext>
            </a:extLst>
          </p:cNvPr>
          <p:cNvGrpSpPr/>
          <p:nvPr/>
        </p:nvGrpSpPr>
        <p:grpSpPr>
          <a:xfrm>
            <a:off x="9882353" y="3954318"/>
            <a:ext cx="698058" cy="700412"/>
            <a:chOff x="9938689" y="5440680"/>
            <a:chExt cx="698058" cy="700412"/>
          </a:xfrm>
        </p:grpSpPr>
        <p:pic>
          <p:nvPicPr>
            <p:cNvPr id="7" name="Immagine 6">
              <a:extLst>
                <a:ext uri="{FF2B5EF4-FFF2-40B4-BE49-F238E27FC236}">
                  <a16:creationId xmlns:a16="http://schemas.microsoft.com/office/drawing/2014/main" id="{F27552CE-07DD-7A86-E833-2EF28CC3936E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938689" y="5440680"/>
              <a:ext cx="698058" cy="700412"/>
            </a:xfrm>
            <a:prstGeom prst="rect">
              <a:avLst/>
            </a:prstGeom>
          </p:spPr>
        </p:pic>
        <p:pic>
          <p:nvPicPr>
            <p:cNvPr id="33" name="Immagine 32" descr="Immagine che contiene testo, Carattere, Elementi grafici, logo&#10;&#10;Descrizione generata automaticamente">
              <a:extLst>
                <a:ext uri="{FF2B5EF4-FFF2-40B4-BE49-F238E27FC236}">
                  <a16:creationId xmlns:a16="http://schemas.microsoft.com/office/drawing/2014/main" id="{538422AE-0D56-43EA-0ED8-6501A0745742}"/>
                </a:ext>
              </a:extLst>
            </p:cNvPr>
            <p:cNvPicPr>
              <a:picLocks noChangeAspect="1"/>
            </p:cNvPicPr>
            <p:nvPr/>
          </p:nvPicPr>
          <p:blipFill>
            <a:blip r:embed="rId18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0063233" y="5730907"/>
              <a:ext cx="450000" cy="101798"/>
            </a:xfrm>
            <a:prstGeom prst="rect">
              <a:avLst/>
            </a:prstGeom>
          </p:spPr>
        </p:pic>
      </p:grpSp>
      <p:sp>
        <p:nvSpPr>
          <p:cNvPr id="50" name="CasellaDiTesto 49">
            <a:extLst>
              <a:ext uri="{FF2B5EF4-FFF2-40B4-BE49-F238E27FC236}">
                <a16:creationId xmlns:a16="http://schemas.microsoft.com/office/drawing/2014/main" id="{F43AED79-17DE-01F6-742B-DDF574025762}"/>
              </a:ext>
            </a:extLst>
          </p:cNvPr>
          <p:cNvSpPr txBox="1"/>
          <p:nvPr/>
        </p:nvSpPr>
        <p:spPr>
          <a:xfrm>
            <a:off x="10513185" y="4690018"/>
            <a:ext cx="1542155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000" b="0" i="0" u="none" strike="noStrike" kern="1200" cap="none" spc="0" normalizeH="0" baseline="0" noProof="0" dirty="0">
                <a:ln>
                  <a:noFill/>
                </a:ln>
                <a:solidFill>
                  <a:srgbClr val="30636E"/>
                </a:solidFill>
                <a:effectLst/>
                <a:uLnTx/>
                <a:uFillTx/>
                <a:latin typeface="Bahnschrift Light SemiCondensed" panose="020B0502040204020203" pitchFamily="34" charset="0"/>
                <a:cs typeface="Arial" panose="020B0604020202020204" pitchFamily="34" charset="0"/>
              </a:rPr>
              <a:t>50% HEA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000" b="0" i="0" u="none" strike="noStrike" kern="1200" cap="none" spc="0" normalizeH="0" baseline="0" noProof="0" dirty="0">
                <a:ln>
                  <a:noFill/>
                </a:ln>
                <a:solidFill>
                  <a:srgbClr val="30636E"/>
                </a:solidFill>
                <a:effectLst/>
                <a:uLnTx/>
                <a:uFillTx/>
                <a:latin typeface="Bahnschrift Light SemiCondensed" panose="020B0502040204020203" pitchFamily="34" charset="0"/>
                <a:cs typeface="Arial" panose="020B0604020202020204" pitchFamily="34" charset="0"/>
              </a:rPr>
              <a:t>Partnership con Eni Rewind per piattaforma Ravenna (RA)</a:t>
            </a:r>
          </a:p>
        </p:txBody>
      </p:sp>
      <p:sp>
        <p:nvSpPr>
          <p:cNvPr id="51" name="CasellaDiTesto 50">
            <a:extLst>
              <a:ext uri="{FF2B5EF4-FFF2-40B4-BE49-F238E27FC236}">
                <a16:creationId xmlns:a16="http://schemas.microsoft.com/office/drawing/2014/main" id="{15C69E78-3B72-1CEF-FD0B-B3949DC5E7EF}"/>
              </a:ext>
            </a:extLst>
          </p:cNvPr>
          <p:cNvSpPr txBox="1"/>
          <p:nvPr/>
        </p:nvSpPr>
        <p:spPr>
          <a:xfrm>
            <a:off x="8487707" y="5548134"/>
            <a:ext cx="1539336" cy="5539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000" b="0" i="0" u="none" strike="noStrike" kern="1200" cap="none" spc="0" normalizeH="0" baseline="0" noProof="0" dirty="0">
                <a:ln>
                  <a:noFill/>
                </a:ln>
                <a:solidFill>
                  <a:srgbClr val="30636E"/>
                </a:solidFill>
                <a:effectLst/>
                <a:uLnTx/>
                <a:uFillTx/>
                <a:latin typeface="Bahnschrift Light SemiCondensed" panose="020B0502040204020203" pitchFamily="34" charset="0"/>
                <a:cs typeface="Arial" panose="020B0604020202020204" pitchFamily="34" charset="0"/>
              </a:rPr>
              <a:t>31% SEA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000" b="0" i="0" u="none" strike="noStrike" kern="1200" cap="none" spc="0" normalizeH="0" baseline="0" noProof="0" dirty="0">
                <a:ln>
                  <a:noFill/>
                </a:ln>
                <a:solidFill>
                  <a:srgbClr val="30636E"/>
                </a:solidFill>
                <a:effectLst/>
                <a:uLnTx/>
                <a:uFillTx/>
                <a:latin typeface="Bahnschrift Light SemiCondensed" panose="020B0502040204020203" pitchFamily="34" charset="0"/>
                <a:cs typeface="Arial" panose="020B0604020202020204" pitchFamily="34" charset="0"/>
              </a:rPr>
              <a:t>Gestione piattaforma Ancona</a:t>
            </a:r>
          </a:p>
        </p:txBody>
      </p:sp>
      <p:sp>
        <p:nvSpPr>
          <p:cNvPr id="53" name="CasellaDiTesto 52">
            <a:extLst>
              <a:ext uri="{FF2B5EF4-FFF2-40B4-BE49-F238E27FC236}">
                <a16:creationId xmlns:a16="http://schemas.microsoft.com/office/drawing/2014/main" id="{499DBA73-EFCC-AE25-C86E-FAF8460C61E6}"/>
              </a:ext>
            </a:extLst>
          </p:cNvPr>
          <p:cNvSpPr txBox="1"/>
          <p:nvPr/>
        </p:nvSpPr>
        <p:spPr>
          <a:xfrm>
            <a:off x="10513185" y="5548134"/>
            <a:ext cx="1343945" cy="5539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000" b="0" i="0" u="none" strike="noStrike" kern="1200" cap="none" spc="0" normalizeH="0" baseline="0" noProof="0" dirty="0">
                <a:ln>
                  <a:noFill/>
                </a:ln>
                <a:solidFill>
                  <a:srgbClr val="30636E"/>
                </a:solidFill>
                <a:effectLst/>
                <a:uLnTx/>
                <a:uFillTx/>
                <a:latin typeface="Bahnschrift Light SemiCondensed" panose="020B0502040204020203" pitchFamily="34" charset="0"/>
                <a:cs typeface="Arial" panose="020B0604020202020204" pitchFamily="34" charset="0"/>
              </a:rPr>
              <a:t>20% TEAM SRL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000" b="0" i="0" u="none" strike="noStrike" kern="1200" cap="none" spc="0" normalizeH="0" baseline="0" noProof="0" dirty="0">
                <a:ln>
                  <a:noFill/>
                </a:ln>
                <a:solidFill>
                  <a:srgbClr val="30636E"/>
                </a:solidFill>
                <a:effectLst/>
                <a:uLnTx/>
                <a:uFillTx/>
                <a:latin typeface="Bahnschrift Light SemiCondensed" panose="020B0502040204020203" pitchFamily="34" charset="0"/>
                <a:cs typeface="Arial" panose="020B0604020202020204" pitchFamily="34" charset="0"/>
              </a:rPr>
              <a:t>Gestione piattaforma Pesaro</a:t>
            </a:r>
          </a:p>
        </p:txBody>
      </p:sp>
      <p:sp>
        <p:nvSpPr>
          <p:cNvPr id="56" name="Ovale 55">
            <a:extLst>
              <a:ext uri="{FF2B5EF4-FFF2-40B4-BE49-F238E27FC236}">
                <a16:creationId xmlns:a16="http://schemas.microsoft.com/office/drawing/2014/main" id="{02E1CFD3-9391-4824-E5D5-F05EB0D08E57}"/>
              </a:ext>
            </a:extLst>
          </p:cNvPr>
          <p:cNvSpPr/>
          <p:nvPr/>
        </p:nvSpPr>
        <p:spPr>
          <a:xfrm>
            <a:off x="2143936" y="5034587"/>
            <a:ext cx="406106" cy="308350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20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Bahnschrift Light SemiCondensed" panose="020B0502040204020203" pitchFamily="34" charset="0"/>
            </a:endParaRPr>
          </a:p>
        </p:txBody>
      </p:sp>
      <p:pic>
        <p:nvPicPr>
          <p:cNvPr id="27" name="Immagine 26" descr="Immagine che contiene Elementi grafici, grafica, Policromia, design&#10;&#10;Descrizione generata automaticamente">
            <a:extLst>
              <a:ext uri="{FF2B5EF4-FFF2-40B4-BE49-F238E27FC236}">
                <a16:creationId xmlns:a16="http://schemas.microsoft.com/office/drawing/2014/main" id="{8FE137F7-4922-4D14-6ADC-D65AA11B6B64}"/>
              </a:ext>
            </a:extLst>
          </p:cNvPr>
          <p:cNvPicPr>
            <a:picLocks noChangeAspect="1"/>
          </p:cNvPicPr>
          <p:nvPr/>
        </p:nvPicPr>
        <p:blipFill>
          <a:blip r:embed="rId1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51087" y="5080607"/>
            <a:ext cx="380115" cy="166258"/>
          </a:xfrm>
          <a:prstGeom prst="rect">
            <a:avLst/>
          </a:prstGeom>
        </p:spPr>
      </p:pic>
      <p:sp>
        <p:nvSpPr>
          <p:cNvPr id="58" name="Ovale 57">
            <a:extLst>
              <a:ext uri="{FF2B5EF4-FFF2-40B4-BE49-F238E27FC236}">
                <a16:creationId xmlns:a16="http://schemas.microsoft.com/office/drawing/2014/main" id="{1CE747D1-9BEB-7A39-B40A-54A8EC7A2DED}"/>
              </a:ext>
            </a:extLst>
          </p:cNvPr>
          <p:cNvSpPr/>
          <p:nvPr/>
        </p:nvSpPr>
        <p:spPr>
          <a:xfrm>
            <a:off x="4319737" y="5030235"/>
            <a:ext cx="449669" cy="308350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20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Bahnschrift Light SemiCondensed" panose="020B0502040204020203" pitchFamily="34" charset="0"/>
            </a:endParaRPr>
          </a:p>
        </p:txBody>
      </p:sp>
      <p:pic>
        <p:nvPicPr>
          <p:cNvPr id="31" name="Picture 2" descr="Hestambiente">
            <a:extLst>
              <a:ext uri="{FF2B5EF4-FFF2-40B4-BE49-F238E27FC236}">
                <a16:creationId xmlns:a16="http://schemas.microsoft.com/office/drawing/2014/main" id="{7005C4B1-FBF7-4399-45A4-DC745A87EB9D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4295612" y="5137786"/>
            <a:ext cx="467038" cy="773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9" name="Ovale 58">
            <a:extLst>
              <a:ext uri="{FF2B5EF4-FFF2-40B4-BE49-F238E27FC236}">
                <a16:creationId xmlns:a16="http://schemas.microsoft.com/office/drawing/2014/main" id="{FFFD0FE1-6395-09EA-1518-0582E725FCAB}"/>
              </a:ext>
            </a:extLst>
          </p:cNvPr>
          <p:cNvSpPr/>
          <p:nvPr/>
        </p:nvSpPr>
        <p:spPr>
          <a:xfrm>
            <a:off x="304128" y="5903338"/>
            <a:ext cx="448153" cy="329416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20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Bahnschrift Light SemiCondensed" panose="020B0502040204020203" pitchFamily="34" charset="0"/>
            </a:endParaRPr>
          </a:p>
        </p:txBody>
      </p:sp>
      <p:pic>
        <p:nvPicPr>
          <p:cNvPr id="39" name="Immagine 38" descr="Immagine che contiene schermata, Policromia&#10;&#10;Descrizione generata automaticamente">
            <a:extLst>
              <a:ext uri="{FF2B5EF4-FFF2-40B4-BE49-F238E27FC236}">
                <a16:creationId xmlns:a16="http://schemas.microsoft.com/office/drawing/2014/main" id="{9C643BDE-DDE6-C178-44A8-7F90C17A0F6B}"/>
              </a:ext>
            </a:extLst>
          </p:cNvPr>
          <p:cNvPicPr>
            <a:picLocks noChangeAspect="1"/>
          </p:cNvPicPr>
          <p:nvPr/>
        </p:nvPicPr>
        <p:blipFill>
          <a:blip r:embed="rId2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97492" y="5979618"/>
            <a:ext cx="437367" cy="95696"/>
          </a:xfrm>
          <a:prstGeom prst="rect">
            <a:avLst/>
          </a:prstGeom>
        </p:spPr>
      </p:pic>
      <p:sp>
        <p:nvSpPr>
          <p:cNvPr id="2049" name="Ovale 2048">
            <a:extLst>
              <a:ext uri="{FF2B5EF4-FFF2-40B4-BE49-F238E27FC236}">
                <a16:creationId xmlns:a16="http://schemas.microsoft.com/office/drawing/2014/main" id="{0861C429-F875-AC30-B022-C94BAF336638}"/>
              </a:ext>
            </a:extLst>
          </p:cNvPr>
          <p:cNvSpPr/>
          <p:nvPr/>
        </p:nvSpPr>
        <p:spPr>
          <a:xfrm>
            <a:off x="2150352" y="5843709"/>
            <a:ext cx="406106" cy="308350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20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Bahnschrift Light SemiCondensed" panose="020B0502040204020203" pitchFamily="34" charset="0"/>
            </a:endParaRPr>
          </a:p>
        </p:txBody>
      </p:sp>
      <p:pic>
        <p:nvPicPr>
          <p:cNvPr id="2054" name="Picture 6" descr="Hestambiente">
            <a:extLst>
              <a:ext uri="{FF2B5EF4-FFF2-40B4-BE49-F238E27FC236}">
                <a16:creationId xmlns:a16="http://schemas.microsoft.com/office/drawing/2014/main" id="{887CCFDC-9739-6B92-CCD2-FEFC9746FD0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2220064" y="5862296"/>
            <a:ext cx="248343" cy="2641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051" name="Ovale 2050">
            <a:extLst>
              <a:ext uri="{FF2B5EF4-FFF2-40B4-BE49-F238E27FC236}">
                <a16:creationId xmlns:a16="http://schemas.microsoft.com/office/drawing/2014/main" id="{E340F1B5-7B3C-19E1-1A72-0C8AA8AAC61D}"/>
              </a:ext>
            </a:extLst>
          </p:cNvPr>
          <p:cNvSpPr/>
          <p:nvPr/>
        </p:nvSpPr>
        <p:spPr>
          <a:xfrm>
            <a:off x="304128" y="5029103"/>
            <a:ext cx="448153" cy="329416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20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Bahnschrift Light SemiCondensed" panose="020B0502040204020203" pitchFamily="34" charset="0"/>
            </a:endParaRPr>
          </a:p>
        </p:txBody>
      </p:sp>
      <p:pic>
        <p:nvPicPr>
          <p:cNvPr id="2056" name="Picture 8" descr="Feronia S.r.l. - Gruppo Hera">
            <a:extLst>
              <a:ext uri="{FF2B5EF4-FFF2-40B4-BE49-F238E27FC236}">
                <a16:creationId xmlns:a16="http://schemas.microsoft.com/office/drawing/2014/main" id="{3A7BA772-FEB6-9C4C-F99E-5A7C515FA28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21789"/>
          <a:stretch/>
        </p:blipFill>
        <p:spPr bwMode="auto">
          <a:xfrm>
            <a:off x="330334" y="5054175"/>
            <a:ext cx="386198" cy="2125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053" name="Ovale 2052">
            <a:extLst>
              <a:ext uri="{FF2B5EF4-FFF2-40B4-BE49-F238E27FC236}">
                <a16:creationId xmlns:a16="http://schemas.microsoft.com/office/drawing/2014/main" id="{4A16D9FE-2BF7-D08F-113E-E85D435C3EDF}"/>
              </a:ext>
            </a:extLst>
          </p:cNvPr>
          <p:cNvSpPr/>
          <p:nvPr/>
        </p:nvSpPr>
        <p:spPr>
          <a:xfrm>
            <a:off x="1221510" y="2429360"/>
            <a:ext cx="1815604" cy="956175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20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Bahnschrift Light SemiCondensed" panose="020B0502040204020203" pitchFamily="34" charset="0"/>
            </a:endParaRPr>
          </a:p>
        </p:txBody>
      </p:sp>
      <p:pic>
        <p:nvPicPr>
          <p:cNvPr id="2055" name="Immagine 2054" descr="Immagine che contiene testo, Carattere, Elementi grafici, grafica&#10;&#10;Descrizione generata automaticamente">
            <a:extLst>
              <a:ext uri="{FF2B5EF4-FFF2-40B4-BE49-F238E27FC236}">
                <a16:creationId xmlns:a16="http://schemas.microsoft.com/office/drawing/2014/main" id="{5BD383F7-F2E4-6839-90A9-9AEC4F64B0D4}"/>
              </a:ext>
            </a:extLst>
          </p:cNvPr>
          <p:cNvPicPr>
            <a:picLocks noChangeAspect="1"/>
          </p:cNvPicPr>
          <p:nvPr/>
        </p:nvPicPr>
        <p:blipFill>
          <a:blip r:embed="rId24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90211" y="2558424"/>
            <a:ext cx="1815604" cy="483614"/>
          </a:xfrm>
          <a:prstGeom prst="rect">
            <a:avLst/>
          </a:prstGeom>
        </p:spPr>
      </p:pic>
      <p:sp>
        <p:nvSpPr>
          <p:cNvPr id="2057" name="Ovale 2056">
            <a:extLst>
              <a:ext uri="{FF2B5EF4-FFF2-40B4-BE49-F238E27FC236}">
                <a16:creationId xmlns:a16="http://schemas.microsoft.com/office/drawing/2014/main" id="{05DE61DA-FF8F-424D-46BA-1F9BB84BD146}"/>
              </a:ext>
            </a:extLst>
          </p:cNvPr>
          <p:cNvSpPr/>
          <p:nvPr/>
        </p:nvSpPr>
        <p:spPr>
          <a:xfrm>
            <a:off x="5446486" y="3165704"/>
            <a:ext cx="1123833" cy="930773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20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Bahnschrift Light SemiCondensed" panose="020B0502040204020203" pitchFamily="34" charset="0"/>
            </a:endParaRPr>
          </a:p>
        </p:txBody>
      </p:sp>
      <p:pic>
        <p:nvPicPr>
          <p:cNvPr id="2059" name="Immagine 2058" descr="Immagine che contiene Elementi grafici, grafica, Carattere, schermata&#10;&#10;Descrizione generata automaticamente">
            <a:extLst>
              <a:ext uri="{FF2B5EF4-FFF2-40B4-BE49-F238E27FC236}">
                <a16:creationId xmlns:a16="http://schemas.microsoft.com/office/drawing/2014/main" id="{BE3CF309-FEE1-5FCF-8A12-77AC67F9F6CB}"/>
              </a:ext>
            </a:extLst>
          </p:cNvPr>
          <p:cNvPicPr>
            <a:picLocks noChangeAspect="1"/>
          </p:cNvPicPr>
          <p:nvPr/>
        </p:nvPicPr>
        <p:blipFill>
          <a:blip r:embed="rId2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466296" y="3480421"/>
            <a:ext cx="1076954" cy="294156"/>
          </a:xfrm>
          <a:prstGeom prst="rect">
            <a:avLst/>
          </a:prstGeom>
        </p:spPr>
      </p:pic>
      <p:sp>
        <p:nvSpPr>
          <p:cNvPr id="2060" name="Ovale 2059">
            <a:extLst>
              <a:ext uri="{FF2B5EF4-FFF2-40B4-BE49-F238E27FC236}">
                <a16:creationId xmlns:a16="http://schemas.microsoft.com/office/drawing/2014/main" id="{CD69E5A7-1491-EAFB-322E-F63A6DDD55AE}"/>
              </a:ext>
            </a:extLst>
          </p:cNvPr>
          <p:cNvSpPr/>
          <p:nvPr/>
        </p:nvSpPr>
        <p:spPr>
          <a:xfrm>
            <a:off x="4607110" y="1346982"/>
            <a:ext cx="770281" cy="707123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20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Bahnschrift Light SemiCondensed" panose="020B0502040204020203" pitchFamily="34" charset="0"/>
            </a:endParaRPr>
          </a:p>
        </p:txBody>
      </p:sp>
      <p:pic>
        <p:nvPicPr>
          <p:cNvPr id="2062" name="Immagine 2061" descr="Immagine che contiene testo, Carattere, Elementi grafici, logo&#10;&#10;Descrizione generata automaticamente">
            <a:extLst>
              <a:ext uri="{FF2B5EF4-FFF2-40B4-BE49-F238E27FC236}">
                <a16:creationId xmlns:a16="http://schemas.microsoft.com/office/drawing/2014/main" id="{BBE93BEB-8D37-E120-CACF-6F296462E85C}"/>
              </a:ext>
            </a:extLst>
          </p:cNvPr>
          <p:cNvPicPr>
            <a:picLocks noChangeAspect="1"/>
          </p:cNvPicPr>
          <p:nvPr/>
        </p:nvPicPr>
        <p:blipFill>
          <a:blip r:embed="rId26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90928" y="1559808"/>
            <a:ext cx="804899" cy="204684"/>
          </a:xfrm>
          <a:prstGeom prst="rect">
            <a:avLst/>
          </a:prstGeom>
        </p:spPr>
      </p:pic>
      <p:sp>
        <p:nvSpPr>
          <p:cNvPr id="2065" name="Ovale 2064">
            <a:extLst>
              <a:ext uri="{FF2B5EF4-FFF2-40B4-BE49-F238E27FC236}">
                <a16:creationId xmlns:a16="http://schemas.microsoft.com/office/drawing/2014/main" id="{0F1DDCDC-11DC-18EF-4664-4B25E0C21484}"/>
              </a:ext>
            </a:extLst>
          </p:cNvPr>
          <p:cNvSpPr/>
          <p:nvPr/>
        </p:nvSpPr>
        <p:spPr>
          <a:xfrm>
            <a:off x="4309536" y="5850904"/>
            <a:ext cx="449669" cy="308350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20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Bahnschrift Light SemiCondensed" panose="020B0502040204020203" pitchFamily="34" charset="0"/>
            </a:endParaRPr>
          </a:p>
        </p:txBody>
      </p:sp>
      <p:pic>
        <p:nvPicPr>
          <p:cNvPr id="2064" name="Immagine 2063">
            <a:extLst>
              <a:ext uri="{FF2B5EF4-FFF2-40B4-BE49-F238E27FC236}">
                <a16:creationId xmlns:a16="http://schemas.microsoft.com/office/drawing/2014/main" id="{15FB599B-ABA6-BEFC-4FBB-A129D2623151}"/>
              </a:ext>
            </a:extLst>
          </p:cNvPr>
          <p:cNvPicPr>
            <a:picLocks noChangeAspect="1"/>
          </p:cNvPicPr>
          <p:nvPr/>
        </p:nvPicPr>
        <p:blipFill>
          <a:blip r:embed="rId2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56781" y="5882624"/>
            <a:ext cx="349575" cy="204452"/>
          </a:xfrm>
          <a:prstGeom prst="rect">
            <a:avLst/>
          </a:prstGeom>
        </p:spPr>
      </p:pic>
      <p:grpSp>
        <p:nvGrpSpPr>
          <p:cNvPr id="75" name="Gruppo 74">
            <a:extLst>
              <a:ext uri="{FF2B5EF4-FFF2-40B4-BE49-F238E27FC236}">
                <a16:creationId xmlns:a16="http://schemas.microsoft.com/office/drawing/2014/main" id="{C392EAB3-D439-9CD7-9727-D31C8C8DF728}"/>
              </a:ext>
            </a:extLst>
          </p:cNvPr>
          <p:cNvGrpSpPr/>
          <p:nvPr/>
        </p:nvGrpSpPr>
        <p:grpSpPr>
          <a:xfrm>
            <a:off x="9882353" y="5473929"/>
            <a:ext cx="700197" cy="720000"/>
            <a:chOff x="9970454" y="5473929"/>
            <a:chExt cx="700197" cy="720000"/>
          </a:xfrm>
        </p:grpSpPr>
        <p:pic>
          <p:nvPicPr>
            <p:cNvPr id="47" name="Immagine 46">
              <a:extLst>
                <a:ext uri="{FF2B5EF4-FFF2-40B4-BE49-F238E27FC236}">
                  <a16:creationId xmlns:a16="http://schemas.microsoft.com/office/drawing/2014/main" id="{E60B23CF-B4DC-516A-011A-24515C001671}"/>
                </a:ext>
              </a:extLst>
            </p:cNvPr>
            <p:cNvPicPr>
              <a:picLocks noChangeAspect="1"/>
            </p:cNvPicPr>
            <p:nvPr/>
          </p:nvPicPr>
          <p:blipFill>
            <a:blip r:embed="rId28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970454" y="5473929"/>
              <a:ext cx="700197" cy="720000"/>
            </a:xfrm>
            <a:prstGeom prst="rect">
              <a:avLst/>
            </a:prstGeom>
          </p:spPr>
        </p:pic>
        <p:sp>
          <p:nvSpPr>
            <p:cNvPr id="2066" name="Ovale 2065">
              <a:extLst>
                <a:ext uri="{FF2B5EF4-FFF2-40B4-BE49-F238E27FC236}">
                  <a16:creationId xmlns:a16="http://schemas.microsoft.com/office/drawing/2014/main" id="{9447CC60-937A-506B-02F6-DB6E219CF8EA}"/>
                </a:ext>
              </a:extLst>
            </p:cNvPr>
            <p:cNvSpPr/>
            <p:nvPr/>
          </p:nvSpPr>
          <p:spPr>
            <a:xfrm>
              <a:off x="10085814" y="5645223"/>
              <a:ext cx="449669" cy="308350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2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hnschrift Light SemiCondensed" panose="020B0502040204020203" pitchFamily="34" charset="0"/>
              </a:endParaRPr>
            </a:p>
          </p:txBody>
        </p:sp>
        <p:pic>
          <p:nvPicPr>
            <p:cNvPr id="2052" name="Picture 4" descr="Hestambiente">
              <a:extLst>
                <a:ext uri="{FF2B5EF4-FFF2-40B4-BE49-F238E27FC236}">
                  <a16:creationId xmlns:a16="http://schemas.microsoft.com/office/drawing/2014/main" id="{3858AD26-8E7B-DDC6-1C3A-0818C2732CF3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29" cstate="screen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10096996" y="5751685"/>
              <a:ext cx="409059" cy="17499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2067" name="Ovale 2066">
            <a:extLst>
              <a:ext uri="{FF2B5EF4-FFF2-40B4-BE49-F238E27FC236}">
                <a16:creationId xmlns:a16="http://schemas.microsoft.com/office/drawing/2014/main" id="{A15DA098-FB6E-BFB4-C34C-3299C14437D9}"/>
              </a:ext>
            </a:extLst>
          </p:cNvPr>
          <p:cNvSpPr/>
          <p:nvPr/>
        </p:nvSpPr>
        <p:spPr>
          <a:xfrm>
            <a:off x="7985255" y="1915972"/>
            <a:ext cx="449669" cy="308350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20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Bahnschrift Light SemiCondensed" panose="020B0502040204020203" pitchFamily="34" charset="0"/>
            </a:endParaRPr>
          </a:p>
        </p:txBody>
      </p:sp>
      <p:pic>
        <p:nvPicPr>
          <p:cNvPr id="2069" name="Immagine 2068" descr="Immagine che contiene testo, Carattere, Elementi grafici, grafica&#10;&#10;Descrizione generata automaticamente">
            <a:extLst>
              <a:ext uri="{FF2B5EF4-FFF2-40B4-BE49-F238E27FC236}">
                <a16:creationId xmlns:a16="http://schemas.microsoft.com/office/drawing/2014/main" id="{036BC7FE-7870-85E8-438A-D5FBF09332B7}"/>
              </a:ext>
            </a:extLst>
          </p:cNvPr>
          <p:cNvPicPr>
            <a:picLocks noChangeAspect="1"/>
          </p:cNvPicPr>
          <p:nvPr/>
        </p:nvPicPr>
        <p:blipFill>
          <a:blip r:embed="rId3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998267" y="2042248"/>
            <a:ext cx="449669" cy="67066"/>
          </a:xfrm>
          <a:prstGeom prst="rect">
            <a:avLst/>
          </a:prstGeom>
        </p:spPr>
      </p:pic>
      <p:sp>
        <p:nvSpPr>
          <p:cNvPr id="2070" name="Ovale 2069">
            <a:extLst>
              <a:ext uri="{FF2B5EF4-FFF2-40B4-BE49-F238E27FC236}">
                <a16:creationId xmlns:a16="http://schemas.microsoft.com/office/drawing/2014/main" id="{AC898209-8E31-010E-6071-D2CBE21B52D3}"/>
              </a:ext>
            </a:extLst>
          </p:cNvPr>
          <p:cNvSpPr/>
          <p:nvPr/>
        </p:nvSpPr>
        <p:spPr>
          <a:xfrm>
            <a:off x="8615617" y="2682536"/>
            <a:ext cx="449669" cy="308350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20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Bahnschrift Light SemiCondensed" panose="020B0502040204020203" pitchFamily="34" charset="0"/>
            </a:endParaRPr>
          </a:p>
        </p:txBody>
      </p:sp>
      <p:pic>
        <p:nvPicPr>
          <p:cNvPr id="2072" name="Immagine 2071" descr="Immagine che contiene testo, logo, Carattere, Elementi grafici&#10;&#10;Descrizione generata automaticamente">
            <a:extLst>
              <a:ext uri="{FF2B5EF4-FFF2-40B4-BE49-F238E27FC236}">
                <a16:creationId xmlns:a16="http://schemas.microsoft.com/office/drawing/2014/main" id="{84368ABF-3A7A-30C1-B979-4896D065E88C}"/>
              </a:ext>
            </a:extLst>
          </p:cNvPr>
          <p:cNvPicPr>
            <a:picLocks noChangeAspect="1"/>
          </p:cNvPicPr>
          <p:nvPr/>
        </p:nvPicPr>
        <p:blipFill>
          <a:blip r:embed="rId31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590338" y="2725585"/>
            <a:ext cx="474948" cy="158182"/>
          </a:xfrm>
          <a:prstGeom prst="rect">
            <a:avLst/>
          </a:prstGeom>
        </p:spPr>
      </p:pic>
      <p:grpSp>
        <p:nvGrpSpPr>
          <p:cNvPr id="2058" name="Gruppo 2057">
            <a:extLst>
              <a:ext uri="{FF2B5EF4-FFF2-40B4-BE49-F238E27FC236}">
                <a16:creationId xmlns:a16="http://schemas.microsoft.com/office/drawing/2014/main" id="{623E21CB-5DAF-3062-BD3E-A3B3DA56C04C}"/>
              </a:ext>
            </a:extLst>
          </p:cNvPr>
          <p:cNvGrpSpPr/>
          <p:nvPr/>
        </p:nvGrpSpPr>
        <p:grpSpPr>
          <a:xfrm>
            <a:off x="7828212" y="5473929"/>
            <a:ext cx="720000" cy="720000"/>
            <a:chOff x="9817218" y="4960304"/>
            <a:chExt cx="720000" cy="720000"/>
          </a:xfrm>
        </p:grpSpPr>
        <p:pic>
          <p:nvPicPr>
            <p:cNvPr id="48" name="Immagine 47">
              <a:extLst>
                <a:ext uri="{FF2B5EF4-FFF2-40B4-BE49-F238E27FC236}">
                  <a16:creationId xmlns:a16="http://schemas.microsoft.com/office/drawing/2014/main" id="{942666EB-2D3B-A546-885C-A69DCC4DAE8C}"/>
                </a:ext>
              </a:extLst>
            </p:cNvPr>
            <p:cNvPicPr>
              <a:picLocks noChangeAspect="1"/>
            </p:cNvPicPr>
            <p:nvPr/>
          </p:nvPicPr>
          <p:blipFill>
            <a:blip r:embed="rId3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817218" y="4960304"/>
              <a:ext cx="720000" cy="720000"/>
            </a:xfrm>
            <a:prstGeom prst="rect">
              <a:avLst/>
            </a:prstGeom>
          </p:spPr>
        </p:pic>
        <p:sp>
          <p:nvSpPr>
            <p:cNvPr id="2073" name="Ovale 2072">
              <a:extLst>
                <a:ext uri="{FF2B5EF4-FFF2-40B4-BE49-F238E27FC236}">
                  <a16:creationId xmlns:a16="http://schemas.microsoft.com/office/drawing/2014/main" id="{9E3E466B-F375-2C72-0798-489A250BD2D8}"/>
                </a:ext>
              </a:extLst>
            </p:cNvPr>
            <p:cNvSpPr/>
            <p:nvPr/>
          </p:nvSpPr>
          <p:spPr>
            <a:xfrm>
              <a:off x="9954796" y="5166129"/>
              <a:ext cx="449669" cy="308350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2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hnschrift Light SemiCondensed" panose="020B0502040204020203" pitchFamily="34" charset="0"/>
              </a:endParaRPr>
            </a:p>
          </p:txBody>
        </p:sp>
        <p:pic>
          <p:nvPicPr>
            <p:cNvPr id="2075" name="Immagine 2074" descr="Immagine che contiene testo, Carattere, logo, Elementi grafici&#10;&#10;Descrizione generata automaticamente">
              <a:extLst>
                <a:ext uri="{FF2B5EF4-FFF2-40B4-BE49-F238E27FC236}">
                  <a16:creationId xmlns:a16="http://schemas.microsoft.com/office/drawing/2014/main" id="{E4CA914F-18E2-3754-3537-1D46A4F00F78}"/>
                </a:ext>
              </a:extLst>
            </p:cNvPr>
            <p:cNvPicPr>
              <a:picLocks noChangeAspect="1"/>
            </p:cNvPicPr>
            <p:nvPr/>
          </p:nvPicPr>
          <p:blipFill>
            <a:blip r:embed="rId33" cstate="screen">
              <a:clrChange>
                <a:clrFrom>
                  <a:srgbClr val="FEFEFE"/>
                </a:clrFrom>
                <a:clrTo>
                  <a:srgbClr val="FEFEFE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10005069" y="5236579"/>
              <a:ext cx="364001" cy="180000"/>
            </a:xfrm>
            <a:prstGeom prst="rect">
              <a:avLst/>
            </a:prstGeom>
          </p:spPr>
        </p:pic>
      </p:grpSp>
      <p:grpSp>
        <p:nvGrpSpPr>
          <p:cNvPr id="2061" name="Gruppo 2060">
            <a:extLst>
              <a:ext uri="{FF2B5EF4-FFF2-40B4-BE49-F238E27FC236}">
                <a16:creationId xmlns:a16="http://schemas.microsoft.com/office/drawing/2014/main" id="{6C91C45F-93BA-F066-FA82-58B26F976C75}"/>
              </a:ext>
            </a:extLst>
          </p:cNvPr>
          <p:cNvGrpSpPr/>
          <p:nvPr/>
        </p:nvGrpSpPr>
        <p:grpSpPr>
          <a:xfrm>
            <a:off x="9882353" y="4737451"/>
            <a:ext cx="680229" cy="720000"/>
            <a:chOff x="7872957" y="4784768"/>
            <a:chExt cx="680229" cy="720000"/>
          </a:xfrm>
        </p:grpSpPr>
        <p:pic>
          <p:nvPicPr>
            <p:cNvPr id="49" name="Immagine 48">
              <a:extLst>
                <a:ext uri="{FF2B5EF4-FFF2-40B4-BE49-F238E27FC236}">
                  <a16:creationId xmlns:a16="http://schemas.microsoft.com/office/drawing/2014/main" id="{5B720989-C430-3015-3339-559712B77D00}"/>
                </a:ext>
              </a:extLst>
            </p:cNvPr>
            <p:cNvPicPr>
              <a:picLocks noChangeAspect="1"/>
            </p:cNvPicPr>
            <p:nvPr/>
          </p:nvPicPr>
          <p:blipFill>
            <a:blip r:embed="rId3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872957" y="4784768"/>
              <a:ext cx="680229" cy="720000"/>
            </a:xfrm>
            <a:prstGeom prst="rect">
              <a:avLst/>
            </a:prstGeom>
          </p:spPr>
        </p:pic>
        <p:sp>
          <p:nvSpPr>
            <p:cNvPr id="2076" name="Ovale 2075">
              <a:extLst>
                <a:ext uri="{FF2B5EF4-FFF2-40B4-BE49-F238E27FC236}">
                  <a16:creationId xmlns:a16="http://schemas.microsoft.com/office/drawing/2014/main" id="{66AA6887-7FF2-E329-7A41-A5F7B5E83BE3}"/>
                </a:ext>
              </a:extLst>
            </p:cNvPr>
            <p:cNvSpPr/>
            <p:nvPr/>
          </p:nvSpPr>
          <p:spPr>
            <a:xfrm>
              <a:off x="7985574" y="4997233"/>
              <a:ext cx="449669" cy="308350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2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hnschrift Light SemiCondensed" panose="020B0502040204020203" pitchFamily="34" charset="0"/>
              </a:endParaRPr>
            </a:p>
          </p:txBody>
        </p:sp>
        <p:pic>
          <p:nvPicPr>
            <p:cNvPr id="2078" name="Immagine 2077" descr="Immagine che contiene testo, Carattere, Elementi grafici, logo&#10;&#10;Descrizione generata automaticamente">
              <a:extLst>
                <a:ext uri="{FF2B5EF4-FFF2-40B4-BE49-F238E27FC236}">
                  <a16:creationId xmlns:a16="http://schemas.microsoft.com/office/drawing/2014/main" id="{22806E13-423A-43E1-30E1-47A91D3B4AD6}"/>
                </a:ext>
              </a:extLst>
            </p:cNvPr>
            <p:cNvPicPr>
              <a:picLocks noChangeAspect="1"/>
            </p:cNvPicPr>
            <p:nvPr/>
          </p:nvPicPr>
          <p:blipFill>
            <a:blip r:embed="rId3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8088430" y="5000344"/>
              <a:ext cx="252177" cy="252000"/>
            </a:xfrm>
            <a:prstGeom prst="rect">
              <a:avLst/>
            </a:prstGeom>
          </p:spPr>
        </p:pic>
      </p:grpSp>
      <p:sp>
        <p:nvSpPr>
          <p:cNvPr id="10" name="CasellaDiTesto 9">
            <a:extLst>
              <a:ext uri="{FF2B5EF4-FFF2-40B4-BE49-F238E27FC236}">
                <a16:creationId xmlns:a16="http://schemas.microsoft.com/office/drawing/2014/main" id="{D0749CD9-B020-F33B-7A3D-407021E7DD0E}"/>
              </a:ext>
            </a:extLst>
          </p:cNvPr>
          <p:cNvSpPr txBox="1"/>
          <p:nvPr/>
        </p:nvSpPr>
        <p:spPr>
          <a:xfrm>
            <a:off x="8487707" y="4773146"/>
            <a:ext cx="1391626" cy="86177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000" b="0" i="0" u="none" strike="noStrike" kern="1200" cap="none" spc="0" normalizeH="0" baseline="0" noProof="0" dirty="0">
                <a:ln>
                  <a:noFill/>
                </a:ln>
                <a:solidFill>
                  <a:srgbClr val="00946E"/>
                </a:solidFill>
                <a:effectLst/>
                <a:uLnTx/>
                <a:uFillTx/>
                <a:latin typeface="Bahnschrift Light SemiCondensed" panose="020B0502040204020203" pitchFamily="34" charset="0"/>
                <a:cs typeface="Arial" panose="020B0604020202020204" pitchFamily="34" charset="0"/>
              </a:rPr>
              <a:t>55% CIRCULARYARD*</a:t>
            </a:r>
          </a:p>
          <a:p>
            <a:pPr lvl="0">
              <a:defRPr/>
            </a:pPr>
            <a:r>
              <a:rPr lang="it-IT" sz="1000" dirty="0">
                <a:solidFill>
                  <a:srgbClr val="30636E"/>
                </a:solidFill>
                <a:latin typeface="Bahnschrift Light SemiCondensed" panose="020B0502040204020203" pitchFamily="34" charset="0"/>
                <a:cs typeface="Arial" panose="020B0604020202020204" pitchFamily="34" charset="0"/>
              </a:rPr>
              <a:t>Partnership con Fincantieri per la gestione sostenibile dei cantieri navali</a:t>
            </a:r>
          </a:p>
        </p:txBody>
      </p:sp>
      <p:sp>
        <p:nvSpPr>
          <p:cNvPr id="2063" name="CasellaDiTesto 2062">
            <a:extLst>
              <a:ext uri="{FF2B5EF4-FFF2-40B4-BE49-F238E27FC236}">
                <a16:creationId xmlns:a16="http://schemas.microsoft.com/office/drawing/2014/main" id="{DC29BBEF-145C-ED3A-92D6-C9CFB80DFE6A}"/>
              </a:ext>
            </a:extLst>
          </p:cNvPr>
          <p:cNvSpPr txBox="1"/>
          <p:nvPr/>
        </p:nvSpPr>
        <p:spPr>
          <a:xfrm>
            <a:off x="382135" y="251158"/>
            <a:ext cx="11691675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3200" b="0" i="0" u="none" strike="noStrike" kern="1200" cap="none" spc="0" normalizeH="0" baseline="0" noProof="0" dirty="0">
                <a:ln>
                  <a:noFill/>
                </a:ln>
                <a:solidFill>
                  <a:srgbClr val="30636E"/>
                </a:solidFill>
                <a:effectLst/>
                <a:uLnTx/>
                <a:uFillTx/>
                <a:latin typeface="Bahnschrift Light SemiCondensed" panose="020B0502040204020203" pitchFamily="34" charset="0"/>
                <a:cs typeface="Arial" panose="020B0604020202020204" pitchFamily="34" charset="0"/>
              </a:rPr>
              <a:t>Le aziende del gruppo </a:t>
            </a:r>
            <a:r>
              <a:rPr kumimoji="0" lang="it-IT" sz="3200" b="0" i="0" u="none" strike="noStrike" kern="1200" cap="none" spc="0" normalizeH="0" baseline="0" noProof="0" dirty="0" err="1">
                <a:ln>
                  <a:noFill/>
                </a:ln>
                <a:solidFill>
                  <a:srgbClr val="30636E"/>
                </a:solidFill>
                <a:effectLst/>
                <a:uLnTx/>
                <a:uFillTx/>
                <a:latin typeface="Bahnschrift Light SemiCondensed" panose="020B0502040204020203" pitchFamily="34" charset="0"/>
                <a:cs typeface="Arial" panose="020B0604020202020204" pitchFamily="34" charset="0"/>
              </a:rPr>
              <a:t>Herambiente</a:t>
            </a:r>
            <a:endParaRPr kumimoji="0" lang="it-IT" sz="3200" b="0" i="0" u="none" strike="noStrike" kern="1200" cap="none" spc="0" normalizeH="0" baseline="0" noProof="0" dirty="0">
              <a:ln>
                <a:noFill/>
              </a:ln>
              <a:solidFill>
                <a:srgbClr val="30636E"/>
              </a:solidFill>
              <a:effectLst/>
              <a:uLnTx/>
              <a:uFillTx/>
              <a:latin typeface="Bahnschrift Light SemiCondensed" panose="020B0502040204020203" pitchFamily="34" charset="0"/>
              <a:cs typeface="Arial" panose="020B0604020202020204" pitchFamily="34" charset="0"/>
            </a:endParaRPr>
          </a:p>
        </p:txBody>
      </p:sp>
      <p:sp>
        <p:nvSpPr>
          <p:cNvPr id="2074" name="Freeform 6">
            <a:extLst>
              <a:ext uri="{FF2B5EF4-FFF2-40B4-BE49-F238E27FC236}">
                <a16:creationId xmlns:a16="http://schemas.microsoft.com/office/drawing/2014/main" id="{C4DB34F1-452C-C7A7-9605-D1E35AE9E81D}"/>
              </a:ext>
            </a:extLst>
          </p:cNvPr>
          <p:cNvSpPr/>
          <p:nvPr/>
        </p:nvSpPr>
        <p:spPr>
          <a:xfrm>
            <a:off x="9483789" y="-1"/>
            <a:ext cx="2724056" cy="2696973"/>
          </a:xfrm>
          <a:custGeom>
            <a:avLst/>
            <a:gdLst/>
            <a:ahLst/>
            <a:cxnLst/>
            <a:rect l="l" t="t" r="r" b="b"/>
            <a:pathLst>
              <a:path w="9957653" h="8663158">
                <a:moveTo>
                  <a:pt x="0" y="0"/>
                </a:moveTo>
                <a:lnTo>
                  <a:pt x="9957652" y="0"/>
                </a:lnTo>
                <a:lnTo>
                  <a:pt x="9957652" y="8663157"/>
                </a:lnTo>
                <a:lnTo>
                  <a:pt x="0" y="8663157"/>
                </a:lnTo>
                <a:lnTo>
                  <a:pt x="0" y="0"/>
                </a:lnTo>
                <a:close/>
              </a:path>
            </a:pathLst>
          </a:custGeom>
          <a:blipFill>
            <a:blip r:embed="rId36">
              <a:extLst>
                <a:ext uri="{96DAC541-7B7A-43D3-8B79-37D633B846F1}">
                  <asvg:svgBlip xmlns:asvg="http://schemas.microsoft.com/office/drawing/2016/SVG/main" r:embed="rId37"/>
                </a:ext>
              </a:extLst>
            </a:blip>
            <a:stretch>
              <a:fillRect t="-31474" r="-52654" b="-2"/>
            </a:stretch>
          </a:blipFill>
        </p:spPr>
        <p:txBody>
          <a:bodyPr/>
          <a:lstStyle/>
          <a:p>
            <a:pPr marL="0" marR="0" lvl="0" indent="0" algn="l" defTabSz="6096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Bahnschrift Light SemiCondensed" panose="020B0502040204020203" pitchFamily="34" charset="0"/>
            </a:endParaRPr>
          </a:p>
        </p:txBody>
      </p:sp>
      <p:sp>
        <p:nvSpPr>
          <p:cNvPr id="2077" name="Freeform 8">
            <a:extLst>
              <a:ext uri="{FF2B5EF4-FFF2-40B4-BE49-F238E27FC236}">
                <a16:creationId xmlns:a16="http://schemas.microsoft.com/office/drawing/2014/main" id="{3800C436-C5D4-E0E4-66FE-26E57330BAA0}"/>
              </a:ext>
            </a:extLst>
          </p:cNvPr>
          <p:cNvSpPr/>
          <p:nvPr/>
        </p:nvSpPr>
        <p:spPr>
          <a:xfrm rot="17010952">
            <a:off x="10254791" y="-699939"/>
            <a:ext cx="1378387" cy="3180379"/>
          </a:xfrm>
          <a:custGeom>
            <a:avLst/>
            <a:gdLst/>
            <a:ahLst/>
            <a:cxnLst/>
            <a:rect l="l" t="t" r="r" b="b"/>
            <a:pathLst>
              <a:path w="6565563" h="10406512">
                <a:moveTo>
                  <a:pt x="0" y="0"/>
                </a:moveTo>
                <a:lnTo>
                  <a:pt x="6565563" y="0"/>
                </a:lnTo>
                <a:lnTo>
                  <a:pt x="6565563" y="10406512"/>
                </a:lnTo>
                <a:lnTo>
                  <a:pt x="0" y="10406512"/>
                </a:lnTo>
                <a:lnTo>
                  <a:pt x="0" y="0"/>
                </a:lnTo>
                <a:close/>
              </a:path>
            </a:pathLst>
          </a:custGeom>
          <a:blipFill>
            <a:blip r:embed="rId38">
              <a:extLst>
                <a:ext uri="{96DAC541-7B7A-43D3-8B79-37D633B846F1}">
                  <asvg:svgBlip xmlns:asvg="http://schemas.microsoft.com/office/drawing/2016/SVG/main" r:embed="rId39"/>
                </a:ext>
              </a:extLst>
            </a:blip>
            <a:stretch>
              <a:fillRect l="-1" r="-92539" b="-33264"/>
            </a:stretch>
          </a:blipFill>
        </p:spPr>
        <p:txBody>
          <a:bodyPr/>
          <a:lstStyle/>
          <a:p>
            <a:pPr marL="0" marR="0" lvl="0" indent="0" algn="l" defTabSz="6096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Bahnschrift Light SemiCondensed" panose="020B0502040204020203" pitchFamily="34" charset="0"/>
            </a:endParaRPr>
          </a:p>
        </p:txBody>
      </p:sp>
      <p:grpSp>
        <p:nvGrpSpPr>
          <p:cNvPr id="76" name="Gruppo 75">
            <a:extLst>
              <a:ext uri="{FF2B5EF4-FFF2-40B4-BE49-F238E27FC236}">
                <a16:creationId xmlns:a16="http://schemas.microsoft.com/office/drawing/2014/main" id="{B03C0761-4A82-1E80-91F2-F9A34477A17F}"/>
              </a:ext>
            </a:extLst>
          </p:cNvPr>
          <p:cNvGrpSpPr/>
          <p:nvPr/>
        </p:nvGrpSpPr>
        <p:grpSpPr>
          <a:xfrm>
            <a:off x="7828212" y="4737451"/>
            <a:ext cx="680229" cy="720000"/>
            <a:chOff x="7835983" y="4707185"/>
            <a:chExt cx="680229" cy="720000"/>
          </a:xfrm>
        </p:grpSpPr>
        <p:grpSp>
          <p:nvGrpSpPr>
            <p:cNvPr id="2068" name="Gruppo 2067">
              <a:extLst>
                <a:ext uri="{FF2B5EF4-FFF2-40B4-BE49-F238E27FC236}">
                  <a16:creationId xmlns:a16="http://schemas.microsoft.com/office/drawing/2014/main" id="{F420B2CA-6A13-7E7D-1810-2516C5B0F14E}"/>
                </a:ext>
              </a:extLst>
            </p:cNvPr>
            <p:cNvGrpSpPr/>
            <p:nvPr/>
          </p:nvGrpSpPr>
          <p:grpSpPr>
            <a:xfrm>
              <a:off x="7835983" y="4707185"/>
              <a:ext cx="680229" cy="720000"/>
              <a:chOff x="12561550" y="3991176"/>
              <a:chExt cx="680229" cy="720000"/>
            </a:xfrm>
          </p:grpSpPr>
          <p:pic>
            <p:nvPicPr>
              <p:cNvPr id="40" name="Immagine 39">
                <a:extLst>
                  <a:ext uri="{FF2B5EF4-FFF2-40B4-BE49-F238E27FC236}">
                    <a16:creationId xmlns:a16="http://schemas.microsoft.com/office/drawing/2014/main" id="{CA24C027-85FE-AAB2-1C53-F679D990BE8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12561550" y="3991176"/>
                <a:ext cx="680229" cy="720000"/>
              </a:xfrm>
              <a:prstGeom prst="rect">
                <a:avLst/>
              </a:prstGeom>
            </p:spPr>
          </p:pic>
          <p:sp>
            <p:nvSpPr>
              <p:cNvPr id="45" name="Ovale 44">
                <a:extLst>
                  <a:ext uri="{FF2B5EF4-FFF2-40B4-BE49-F238E27FC236}">
                    <a16:creationId xmlns:a16="http://schemas.microsoft.com/office/drawing/2014/main" id="{1ED20735-3858-0B0D-0DFC-13040FC831C2}"/>
                  </a:ext>
                </a:extLst>
              </p:cNvPr>
              <p:cNvSpPr/>
              <p:nvPr/>
            </p:nvSpPr>
            <p:spPr>
              <a:xfrm>
                <a:off x="12660586" y="4187476"/>
                <a:ext cx="449669" cy="308350"/>
              </a:xfrm>
              <a:prstGeom prst="ellipse">
                <a:avLst/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20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Bahnschrift Light SemiCondensed" panose="020B0502040204020203" pitchFamily="34" charset="0"/>
                </a:endParaRPr>
              </a:p>
            </p:txBody>
          </p:sp>
        </p:grpSp>
        <p:pic>
          <p:nvPicPr>
            <p:cNvPr id="25" name="Immagine 24" descr="Immagine che contiene Carattere, Elementi grafici, testo, grafica&#10;&#10;Il contenuto generato dall'IA potrebbe non essere corretto.">
              <a:extLst>
                <a:ext uri="{FF2B5EF4-FFF2-40B4-BE49-F238E27FC236}">
                  <a16:creationId xmlns:a16="http://schemas.microsoft.com/office/drawing/2014/main" id="{9BD4745C-C7C5-1D0E-AFFF-2FB5635E0FCC}"/>
                </a:ext>
              </a:extLst>
            </p:cNvPr>
            <p:cNvPicPr>
              <a:picLocks noChangeAspect="1"/>
            </p:cNvPicPr>
            <p:nvPr/>
          </p:nvPicPr>
          <p:blipFill>
            <a:blip r:embed="rId40" cstate="screen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957941" y="4982731"/>
              <a:ext cx="431218" cy="103424"/>
            </a:xfrm>
            <a:prstGeom prst="rect">
              <a:avLst/>
            </a:prstGeom>
          </p:spPr>
        </p:pic>
      </p:grpSp>
      <p:sp>
        <p:nvSpPr>
          <p:cNvPr id="22" name="CasellaDiTesto 21">
            <a:extLst>
              <a:ext uri="{FF2B5EF4-FFF2-40B4-BE49-F238E27FC236}">
                <a16:creationId xmlns:a16="http://schemas.microsoft.com/office/drawing/2014/main" id="{73278293-A677-6B9E-73A9-2039F3E332BF}"/>
              </a:ext>
            </a:extLst>
          </p:cNvPr>
          <p:cNvSpPr txBox="1"/>
          <p:nvPr/>
        </p:nvSpPr>
        <p:spPr>
          <a:xfrm>
            <a:off x="4729396" y="884880"/>
            <a:ext cx="522900" cy="307777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ahnschrift Light SemiCondensed" panose="020B0502040204020203" pitchFamily="34" charset="0"/>
                <a:cs typeface="Arial" panose="020B0604020202020204" pitchFamily="34" charset="0"/>
              </a:rPr>
              <a:t>100%</a:t>
            </a:r>
          </a:p>
        </p:txBody>
      </p:sp>
      <p:sp>
        <p:nvSpPr>
          <p:cNvPr id="38" name="CasellaDiTesto 37">
            <a:extLst>
              <a:ext uri="{FF2B5EF4-FFF2-40B4-BE49-F238E27FC236}">
                <a16:creationId xmlns:a16="http://schemas.microsoft.com/office/drawing/2014/main" id="{97BAB6FE-431D-2933-9B0F-7E0D128C32E8}"/>
              </a:ext>
            </a:extLst>
          </p:cNvPr>
          <p:cNvSpPr txBox="1"/>
          <p:nvPr/>
        </p:nvSpPr>
        <p:spPr>
          <a:xfrm>
            <a:off x="5694078" y="2607466"/>
            <a:ext cx="522900" cy="307777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ahnschrift Light SemiCondensed" panose="020B0502040204020203" pitchFamily="34" charset="0"/>
                <a:cs typeface="Arial" panose="020B0604020202020204" pitchFamily="34" charset="0"/>
              </a:rPr>
              <a:t>100%</a:t>
            </a:r>
          </a:p>
        </p:txBody>
      </p:sp>
      <p:sp>
        <p:nvSpPr>
          <p:cNvPr id="46" name="CasellaDiTesto 45">
            <a:extLst>
              <a:ext uri="{FF2B5EF4-FFF2-40B4-BE49-F238E27FC236}">
                <a16:creationId xmlns:a16="http://schemas.microsoft.com/office/drawing/2014/main" id="{20B14797-5C69-998F-334B-6FA938A94A34}"/>
              </a:ext>
            </a:extLst>
          </p:cNvPr>
          <p:cNvSpPr txBox="1"/>
          <p:nvPr/>
        </p:nvSpPr>
        <p:spPr>
          <a:xfrm>
            <a:off x="10513185" y="3274262"/>
            <a:ext cx="1651022" cy="5539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000" b="0" i="0" u="none" strike="noStrike" kern="1200" cap="none" spc="0" normalizeH="0" baseline="0" noProof="0" dirty="0">
                <a:ln>
                  <a:noFill/>
                </a:ln>
                <a:solidFill>
                  <a:srgbClr val="00946E"/>
                </a:solidFill>
                <a:effectLst/>
                <a:uLnTx/>
                <a:uFillTx/>
                <a:latin typeface="Bahnschrift Light SemiCondensed" panose="020B0502040204020203" pitchFamily="34" charset="0"/>
                <a:cs typeface="Arial" panose="020B0604020202020204" pitchFamily="34" charset="0"/>
              </a:rPr>
              <a:t>100% AMBIENTE ENERGIA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000" b="0" i="0" u="none" strike="noStrike" kern="1200" cap="none" spc="0" normalizeH="0" baseline="0" noProof="0" dirty="0">
                <a:ln>
                  <a:noFill/>
                </a:ln>
                <a:solidFill>
                  <a:srgbClr val="30636E"/>
                </a:solidFill>
                <a:effectLst/>
                <a:uLnTx/>
                <a:uFillTx/>
                <a:latin typeface="Bahnschrift Light SemiCondensed" panose="020B0502040204020203" pitchFamily="34" charset="0"/>
                <a:cs typeface="Arial" panose="020B0604020202020204" pitchFamily="34" charset="0"/>
              </a:rPr>
              <a:t>Gestione impianto chimico-fisico Schio (VI)</a:t>
            </a:r>
          </a:p>
        </p:txBody>
      </p:sp>
      <p:grpSp>
        <p:nvGrpSpPr>
          <p:cNvPr id="80" name="Gruppo 79">
            <a:extLst>
              <a:ext uri="{FF2B5EF4-FFF2-40B4-BE49-F238E27FC236}">
                <a16:creationId xmlns:a16="http://schemas.microsoft.com/office/drawing/2014/main" id="{FE52CAAC-600A-EF45-ECD8-6FC932B84FE0}"/>
              </a:ext>
            </a:extLst>
          </p:cNvPr>
          <p:cNvGrpSpPr>
            <a:grpSpLocks noChangeAspect="1"/>
          </p:cNvGrpSpPr>
          <p:nvPr/>
        </p:nvGrpSpPr>
        <p:grpSpPr>
          <a:xfrm>
            <a:off x="9882353" y="3185319"/>
            <a:ext cx="720000" cy="720000"/>
            <a:chOff x="9882353" y="3185319"/>
            <a:chExt cx="720000" cy="720000"/>
          </a:xfrm>
        </p:grpSpPr>
        <p:grpSp>
          <p:nvGrpSpPr>
            <p:cNvPr id="66" name="Gruppo 65">
              <a:extLst>
                <a:ext uri="{FF2B5EF4-FFF2-40B4-BE49-F238E27FC236}">
                  <a16:creationId xmlns:a16="http://schemas.microsoft.com/office/drawing/2014/main" id="{2C5D1FC3-5EA5-8C23-F8E7-EF9D970E2EE5}"/>
                </a:ext>
              </a:extLst>
            </p:cNvPr>
            <p:cNvGrpSpPr/>
            <p:nvPr/>
          </p:nvGrpSpPr>
          <p:grpSpPr>
            <a:xfrm>
              <a:off x="9882353" y="3185319"/>
              <a:ext cx="720000" cy="720000"/>
              <a:chOff x="10829300" y="1932166"/>
              <a:chExt cx="720000" cy="720000"/>
            </a:xfrm>
          </p:grpSpPr>
          <p:pic>
            <p:nvPicPr>
              <p:cNvPr id="71" name="Immagine 70" descr="Immagine che contiene testo, segnale&#10;&#10;Descrizione generata automaticamente">
                <a:extLst>
                  <a:ext uri="{FF2B5EF4-FFF2-40B4-BE49-F238E27FC236}">
                    <a16:creationId xmlns:a16="http://schemas.microsoft.com/office/drawing/2014/main" id="{136636CC-1C37-E3FD-37DE-C4453D93413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10829300" y="1932166"/>
                <a:ext cx="720000" cy="720000"/>
              </a:xfrm>
              <a:prstGeom prst="rect">
                <a:avLst/>
              </a:prstGeom>
            </p:spPr>
          </p:pic>
          <p:sp>
            <p:nvSpPr>
              <p:cNvPr id="73" name="Ovale 72">
                <a:extLst>
                  <a:ext uri="{FF2B5EF4-FFF2-40B4-BE49-F238E27FC236}">
                    <a16:creationId xmlns:a16="http://schemas.microsoft.com/office/drawing/2014/main" id="{0A99A5D5-F5BF-3D8F-D853-C71DB0C4681F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10966878" y="2076825"/>
                <a:ext cx="378061" cy="378061"/>
              </a:xfrm>
              <a:prstGeom prst="ellipse">
                <a:avLst/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20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Bahnschrift Light SemiCondensed" panose="020B0502040204020203" pitchFamily="34" charset="0"/>
                </a:endParaRPr>
              </a:p>
            </p:txBody>
          </p:sp>
        </p:grpSp>
        <p:pic>
          <p:nvPicPr>
            <p:cNvPr id="78" name="Immagine 77">
              <a:extLst>
                <a:ext uri="{FF2B5EF4-FFF2-40B4-BE49-F238E27FC236}">
                  <a16:creationId xmlns:a16="http://schemas.microsoft.com/office/drawing/2014/main" id="{41E73FC1-E499-FBB5-E613-98D2031D620D}"/>
                </a:ext>
              </a:extLst>
            </p:cNvPr>
            <p:cNvPicPr>
              <a:picLocks noChangeAspect="1"/>
            </p:cNvPicPr>
            <p:nvPr/>
          </p:nvPicPr>
          <p:blipFill>
            <a:blip r:embed="rId41" cstate="screen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984629" y="3486836"/>
              <a:ext cx="464626" cy="96489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01354783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23A0857-A9C0-E19F-E1E3-6FED968E9AA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asellaDiTesto 14">
            <a:extLst>
              <a:ext uri="{FF2B5EF4-FFF2-40B4-BE49-F238E27FC236}">
                <a16:creationId xmlns:a16="http://schemas.microsoft.com/office/drawing/2014/main" id="{7D7954ED-4443-D56F-F2CC-19772C66722A}"/>
              </a:ext>
            </a:extLst>
          </p:cNvPr>
          <p:cNvSpPr txBox="1"/>
          <p:nvPr/>
        </p:nvSpPr>
        <p:spPr>
          <a:xfrm>
            <a:off x="875472" y="1126381"/>
            <a:ext cx="10004195" cy="193899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it-IT" sz="6000" dirty="0">
                <a:solidFill>
                  <a:srgbClr val="32837D"/>
                </a:solidFill>
                <a:latin typeface="Bahnschrift Light SemiCondensed" panose="020B0502040204020203" pitchFamily="34" charset="0"/>
                <a:sym typeface="Wingdings" panose="05000000000000000000" pitchFamily="2" charset="2"/>
              </a:rPr>
              <a:t>2.</a:t>
            </a:r>
          </a:p>
          <a:p>
            <a:r>
              <a:rPr lang="it-IT" sz="6000" dirty="0">
                <a:solidFill>
                  <a:srgbClr val="32837D"/>
                </a:solidFill>
                <a:latin typeface="Bahnschrift Light SemiCondensed" panose="020B0502040204020203" pitchFamily="34" charset="0"/>
                <a:sym typeface="Wingdings" panose="05000000000000000000" pitchFamily="2" charset="2"/>
              </a:rPr>
              <a:t>Il progetto </a:t>
            </a:r>
            <a:r>
              <a:rPr lang="it-IT" sz="6000" dirty="0" err="1">
                <a:solidFill>
                  <a:srgbClr val="32837D"/>
                </a:solidFill>
                <a:latin typeface="Bahnschrift Light SemiCondensed" panose="020B0502040204020203" pitchFamily="34" charset="0"/>
                <a:sym typeface="Wingdings" panose="05000000000000000000" pitchFamily="2" charset="2"/>
              </a:rPr>
              <a:t>CapturEste</a:t>
            </a:r>
            <a:endParaRPr lang="it-IT" sz="6000" dirty="0">
              <a:solidFill>
                <a:srgbClr val="32837D"/>
              </a:solidFill>
              <a:latin typeface="Bahnschrift Light SemiCondensed" panose="020B0502040204020203" pitchFamily="34" charset="0"/>
              <a:sym typeface="Wingdings" panose="05000000000000000000" pitchFamily="2" charset="2"/>
            </a:endParaRPr>
          </a:p>
        </p:txBody>
      </p:sp>
    </p:spTree>
    <p:extLst>
      <p:ext uri="{BB962C8B-B14F-4D97-AF65-F5344CB8AC3E}">
        <p14:creationId xmlns:p14="http://schemas.microsoft.com/office/powerpoint/2010/main" val="145822318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2DEAC5A2-FC2B-9B78-CF52-19DE6C3F5BF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DEAC5A2-FC2B-9B78-CF52-19DE6C3F5BF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TextBox 17">
            <a:extLst>
              <a:ext uri="{FF2B5EF4-FFF2-40B4-BE49-F238E27FC236}">
                <a16:creationId xmlns:a16="http://schemas.microsoft.com/office/drawing/2014/main" id="{B0D8AE86-07D4-1ED8-B5AC-3EE57997B779}"/>
              </a:ext>
            </a:extLst>
          </p:cNvPr>
          <p:cNvSpPr txBox="1"/>
          <p:nvPr/>
        </p:nvSpPr>
        <p:spPr>
          <a:xfrm>
            <a:off x="6021325" y="3913610"/>
            <a:ext cx="1925045" cy="472690"/>
          </a:xfrm>
          <a:prstGeom prst="roundRect">
            <a:avLst/>
          </a:prstGeom>
          <a:solidFill>
            <a:srgbClr val="FFFFFF"/>
          </a:solidFill>
          <a:ln w="6350" cap="rnd">
            <a:solidFill>
              <a:srgbClr val="6E6F73"/>
            </a:solidFill>
            <a:prstDash val="solid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0" rIns="7200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it-IT" sz="1400" i="1">
                <a:solidFill>
                  <a:schemeClr val="tx1"/>
                </a:solidFill>
                <a:latin typeface="+mj-lt"/>
              </a:rPr>
              <a:t>90% CO</a:t>
            </a:r>
            <a:r>
              <a:rPr lang="it-IT" sz="1400" i="1" baseline="-25000">
                <a:solidFill>
                  <a:schemeClr val="tx1"/>
                </a:solidFill>
                <a:latin typeface="+mj-lt"/>
              </a:rPr>
              <a:t>2</a:t>
            </a:r>
            <a:r>
              <a:rPr lang="it-IT" sz="1400" i="1">
                <a:solidFill>
                  <a:schemeClr val="tx1"/>
                </a:solidFill>
                <a:latin typeface="+mj-lt"/>
              </a:rPr>
              <a:t> catturata: </a:t>
            </a:r>
            <a:r>
              <a:rPr lang="it-IT" sz="1400" b="1" i="1">
                <a:solidFill>
                  <a:srgbClr val="30636E"/>
                </a:solidFill>
                <a:latin typeface="+mj-lt"/>
              </a:rPr>
              <a:t>64kton</a:t>
            </a:r>
            <a:endParaRPr lang="en-US"/>
          </a:p>
        </p:txBody>
      </p:sp>
      <p:grpSp>
        <p:nvGrpSpPr>
          <p:cNvPr id="69" name="Group 68">
            <a:extLst>
              <a:ext uri="{FF2B5EF4-FFF2-40B4-BE49-F238E27FC236}">
                <a16:creationId xmlns:a16="http://schemas.microsoft.com/office/drawing/2014/main" id="{336FF4E5-123C-45B8-FC73-857A7F129FF4}"/>
              </a:ext>
            </a:extLst>
          </p:cNvPr>
          <p:cNvGrpSpPr/>
          <p:nvPr/>
        </p:nvGrpSpPr>
        <p:grpSpPr>
          <a:xfrm>
            <a:off x="4966203" y="2992775"/>
            <a:ext cx="1060500" cy="1373351"/>
            <a:chOff x="78875" y="4561374"/>
            <a:chExt cx="1646238" cy="1661755"/>
          </a:xfrm>
        </p:grpSpPr>
        <p:grpSp>
          <p:nvGrpSpPr>
            <p:cNvPr id="61" name="bcgIcons_Oil Refinery-Oil Processing ">
              <a:extLst>
                <a:ext uri="{FF2B5EF4-FFF2-40B4-BE49-F238E27FC236}">
                  <a16:creationId xmlns:a16="http://schemas.microsoft.com/office/drawing/2014/main" id="{186DAE4F-B61F-8C4C-9E7F-E64D0991BE8C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78875" y="4575304"/>
              <a:ext cx="1646238" cy="1647825"/>
              <a:chOff x="5272881" y="2605088"/>
              <a:chExt cx="1646238" cy="1647825"/>
            </a:xfrm>
          </p:grpSpPr>
          <p:sp>
            <p:nvSpPr>
              <p:cNvPr id="63" name="AutoShape 50">
                <a:extLst>
                  <a:ext uri="{FF2B5EF4-FFF2-40B4-BE49-F238E27FC236}">
                    <a16:creationId xmlns:a16="http://schemas.microsoft.com/office/drawing/2014/main" id="{E56BE7C4-E0CB-594B-EF74-81585C39C847}"/>
                  </a:ext>
                </a:extLst>
              </p:cNvPr>
              <p:cNvSpPr>
                <a:spLocks noChangeAspect="1" noChangeArrowheads="1" noTextEdit="1"/>
              </p:cNvSpPr>
              <p:nvPr/>
            </p:nvSpPr>
            <p:spPr bwMode="auto">
              <a:xfrm>
                <a:off x="5272881" y="2605088"/>
                <a:ext cx="1646238" cy="164782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grpSp>
            <p:nvGrpSpPr>
              <p:cNvPr id="64" name="Group 63">
                <a:extLst>
                  <a:ext uri="{FF2B5EF4-FFF2-40B4-BE49-F238E27FC236}">
                    <a16:creationId xmlns:a16="http://schemas.microsoft.com/office/drawing/2014/main" id="{8C9F8289-70B7-68AE-F819-F6C3A748900F}"/>
                  </a:ext>
                </a:extLst>
              </p:cNvPr>
              <p:cNvGrpSpPr/>
              <p:nvPr/>
            </p:nvGrpSpPr>
            <p:grpSpPr>
              <a:xfrm>
                <a:off x="5442744" y="2774950"/>
                <a:ext cx="1306513" cy="1308100"/>
                <a:chOff x="5442744" y="2774950"/>
                <a:chExt cx="1306513" cy="1308100"/>
              </a:xfrm>
            </p:grpSpPr>
            <p:sp>
              <p:nvSpPr>
                <p:cNvPr id="65" name="Freeform 5">
                  <a:extLst>
                    <a:ext uri="{FF2B5EF4-FFF2-40B4-BE49-F238E27FC236}">
                      <a16:creationId xmlns:a16="http://schemas.microsoft.com/office/drawing/2014/main" id="{AD96B1DC-284B-D281-A85A-DD2870C3303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549107" y="3005137"/>
                  <a:ext cx="1087438" cy="898526"/>
                </a:xfrm>
                <a:custGeom>
                  <a:avLst/>
                  <a:gdLst>
                    <a:gd name="connsiteX0" fmla="*/ 1025525 w 1087438"/>
                    <a:gd name="connsiteY0" fmla="*/ 722313 h 898526"/>
                    <a:gd name="connsiteX1" fmla="*/ 1070359 w 1087438"/>
                    <a:gd name="connsiteY1" fmla="*/ 722313 h 898526"/>
                    <a:gd name="connsiteX2" fmla="*/ 1087438 w 1087438"/>
                    <a:gd name="connsiteY2" fmla="*/ 738691 h 898526"/>
                    <a:gd name="connsiteX3" fmla="*/ 1087438 w 1087438"/>
                    <a:gd name="connsiteY3" fmla="*/ 895351 h 898526"/>
                    <a:gd name="connsiteX4" fmla="*/ 1055414 w 1087438"/>
                    <a:gd name="connsiteY4" fmla="*/ 895351 h 898526"/>
                    <a:gd name="connsiteX5" fmla="*/ 1055414 w 1087438"/>
                    <a:gd name="connsiteY5" fmla="*/ 754357 h 898526"/>
                    <a:gd name="connsiteX6" fmla="*/ 1025525 w 1087438"/>
                    <a:gd name="connsiteY6" fmla="*/ 754357 h 898526"/>
                    <a:gd name="connsiteX7" fmla="*/ 1025525 w 1087438"/>
                    <a:gd name="connsiteY7" fmla="*/ 722313 h 898526"/>
                    <a:gd name="connsiteX8" fmla="*/ 49048 w 1087438"/>
                    <a:gd name="connsiteY8" fmla="*/ 203200 h 898526"/>
                    <a:gd name="connsiteX9" fmla="*/ 47625 w 1087438"/>
                    <a:gd name="connsiteY9" fmla="*/ 206073 h 898526"/>
                    <a:gd name="connsiteX10" fmla="*/ 47625 w 1087438"/>
                    <a:gd name="connsiteY10" fmla="*/ 520700 h 898526"/>
                    <a:gd name="connsiteX11" fmla="*/ 157163 w 1087438"/>
                    <a:gd name="connsiteY11" fmla="*/ 520700 h 898526"/>
                    <a:gd name="connsiteX12" fmla="*/ 157163 w 1087438"/>
                    <a:gd name="connsiteY12" fmla="*/ 206073 h 898526"/>
                    <a:gd name="connsiteX13" fmla="*/ 155741 w 1087438"/>
                    <a:gd name="connsiteY13" fmla="*/ 203200 h 898526"/>
                    <a:gd name="connsiteX14" fmla="*/ 49048 w 1087438"/>
                    <a:gd name="connsiteY14" fmla="*/ 203200 h 898526"/>
                    <a:gd name="connsiteX15" fmla="*/ 15037 w 1087438"/>
                    <a:gd name="connsiteY15" fmla="*/ 173038 h 898526"/>
                    <a:gd name="connsiteX16" fmla="*/ 190467 w 1087438"/>
                    <a:gd name="connsiteY16" fmla="*/ 173038 h 898526"/>
                    <a:gd name="connsiteX17" fmla="*/ 204788 w 1087438"/>
                    <a:gd name="connsiteY17" fmla="*/ 188763 h 898526"/>
                    <a:gd name="connsiteX18" fmla="*/ 190467 w 1087438"/>
                    <a:gd name="connsiteY18" fmla="*/ 204488 h 898526"/>
                    <a:gd name="connsiteX19" fmla="*/ 186171 w 1087438"/>
                    <a:gd name="connsiteY19" fmla="*/ 204488 h 898526"/>
                    <a:gd name="connsiteX20" fmla="*/ 186171 w 1087438"/>
                    <a:gd name="connsiteY20" fmla="*/ 207347 h 898526"/>
                    <a:gd name="connsiteX21" fmla="*/ 186171 w 1087438"/>
                    <a:gd name="connsiteY21" fmla="*/ 520415 h 898526"/>
                    <a:gd name="connsiteX22" fmla="*/ 190467 w 1087438"/>
                    <a:gd name="connsiteY22" fmla="*/ 520415 h 898526"/>
                    <a:gd name="connsiteX23" fmla="*/ 204788 w 1087438"/>
                    <a:gd name="connsiteY23" fmla="*/ 536140 h 898526"/>
                    <a:gd name="connsiteX24" fmla="*/ 190467 w 1087438"/>
                    <a:gd name="connsiteY24" fmla="*/ 551864 h 898526"/>
                    <a:gd name="connsiteX25" fmla="*/ 186171 w 1087438"/>
                    <a:gd name="connsiteY25" fmla="*/ 551864 h 898526"/>
                    <a:gd name="connsiteX26" fmla="*/ 186171 w 1087438"/>
                    <a:gd name="connsiteY26" fmla="*/ 898526 h 898526"/>
                    <a:gd name="connsiteX27" fmla="*/ 157529 w 1087438"/>
                    <a:gd name="connsiteY27" fmla="*/ 898526 h 898526"/>
                    <a:gd name="connsiteX28" fmla="*/ 157529 w 1087438"/>
                    <a:gd name="connsiteY28" fmla="*/ 551864 h 898526"/>
                    <a:gd name="connsiteX29" fmla="*/ 47259 w 1087438"/>
                    <a:gd name="connsiteY29" fmla="*/ 551864 h 898526"/>
                    <a:gd name="connsiteX30" fmla="*/ 47259 w 1087438"/>
                    <a:gd name="connsiteY30" fmla="*/ 898526 h 898526"/>
                    <a:gd name="connsiteX31" fmla="*/ 18617 w 1087438"/>
                    <a:gd name="connsiteY31" fmla="*/ 898526 h 898526"/>
                    <a:gd name="connsiteX32" fmla="*/ 18617 w 1087438"/>
                    <a:gd name="connsiteY32" fmla="*/ 551864 h 898526"/>
                    <a:gd name="connsiteX33" fmla="*/ 15037 w 1087438"/>
                    <a:gd name="connsiteY33" fmla="*/ 551864 h 898526"/>
                    <a:gd name="connsiteX34" fmla="*/ 0 w 1087438"/>
                    <a:gd name="connsiteY34" fmla="*/ 536140 h 898526"/>
                    <a:gd name="connsiteX35" fmla="*/ 15037 w 1087438"/>
                    <a:gd name="connsiteY35" fmla="*/ 520415 h 898526"/>
                    <a:gd name="connsiteX36" fmla="*/ 18617 w 1087438"/>
                    <a:gd name="connsiteY36" fmla="*/ 520415 h 898526"/>
                    <a:gd name="connsiteX37" fmla="*/ 18617 w 1087438"/>
                    <a:gd name="connsiteY37" fmla="*/ 207347 h 898526"/>
                    <a:gd name="connsiteX38" fmla="*/ 18617 w 1087438"/>
                    <a:gd name="connsiteY38" fmla="*/ 204488 h 898526"/>
                    <a:gd name="connsiteX39" fmla="*/ 15037 w 1087438"/>
                    <a:gd name="connsiteY39" fmla="*/ 204488 h 898526"/>
                    <a:gd name="connsiteX40" fmla="*/ 0 w 1087438"/>
                    <a:gd name="connsiteY40" fmla="*/ 188763 h 898526"/>
                    <a:gd name="connsiteX41" fmla="*/ 15037 w 1087438"/>
                    <a:gd name="connsiteY41" fmla="*/ 173038 h 898526"/>
                    <a:gd name="connsiteX42" fmla="*/ 634139 w 1087438"/>
                    <a:gd name="connsiteY42" fmla="*/ 133350 h 898526"/>
                    <a:gd name="connsiteX43" fmla="*/ 913675 w 1087438"/>
                    <a:gd name="connsiteY43" fmla="*/ 133350 h 898526"/>
                    <a:gd name="connsiteX44" fmla="*/ 928688 w 1087438"/>
                    <a:gd name="connsiteY44" fmla="*/ 150744 h 898526"/>
                    <a:gd name="connsiteX45" fmla="*/ 928688 w 1087438"/>
                    <a:gd name="connsiteY45" fmla="*/ 200025 h 898526"/>
                    <a:gd name="connsiteX46" fmla="*/ 900091 w 1087438"/>
                    <a:gd name="connsiteY46" fmla="*/ 197126 h 898526"/>
                    <a:gd name="connsiteX47" fmla="*/ 900091 w 1087438"/>
                    <a:gd name="connsiteY47" fmla="*/ 165963 h 898526"/>
                    <a:gd name="connsiteX48" fmla="*/ 647722 w 1087438"/>
                    <a:gd name="connsiteY48" fmla="*/ 165963 h 898526"/>
                    <a:gd name="connsiteX49" fmla="*/ 647722 w 1087438"/>
                    <a:gd name="connsiteY49" fmla="*/ 197126 h 898526"/>
                    <a:gd name="connsiteX50" fmla="*/ 619125 w 1087438"/>
                    <a:gd name="connsiteY50" fmla="*/ 200025 h 898526"/>
                    <a:gd name="connsiteX51" fmla="*/ 619125 w 1087438"/>
                    <a:gd name="connsiteY51" fmla="*/ 150744 h 898526"/>
                    <a:gd name="connsiteX52" fmla="*/ 634139 w 1087438"/>
                    <a:gd name="connsiteY52" fmla="*/ 133350 h 898526"/>
                    <a:gd name="connsiteX53" fmla="*/ 312573 w 1087438"/>
                    <a:gd name="connsiteY53" fmla="*/ 31750 h 898526"/>
                    <a:gd name="connsiteX54" fmla="*/ 311150 w 1087438"/>
                    <a:gd name="connsiteY54" fmla="*/ 34615 h 898526"/>
                    <a:gd name="connsiteX55" fmla="*/ 311150 w 1087438"/>
                    <a:gd name="connsiteY55" fmla="*/ 434975 h 898526"/>
                    <a:gd name="connsiteX56" fmla="*/ 420688 w 1087438"/>
                    <a:gd name="connsiteY56" fmla="*/ 434975 h 898526"/>
                    <a:gd name="connsiteX57" fmla="*/ 420688 w 1087438"/>
                    <a:gd name="connsiteY57" fmla="*/ 34615 h 898526"/>
                    <a:gd name="connsiteX58" fmla="*/ 419266 w 1087438"/>
                    <a:gd name="connsiteY58" fmla="*/ 31750 h 898526"/>
                    <a:gd name="connsiteX59" fmla="*/ 312573 w 1087438"/>
                    <a:gd name="connsiteY59" fmla="*/ 31750 h 898526"/>
                    <a:gd name="connsiteX60" fmla="*/ 278562 w 1087438"/>
                    <a:gd name="connsiteY60" fmla="*/ 0 h 898526"/>
                    <a:gd name="connsiteX61" fmla="*/ 453992 w 1087438"/>
                    <a:gd name="connsiteY61" fmla="*/ 0 h 898526"/>
                    <a:gd name="connsiteX62" fmla="*/ 468313 w 1087438"/>
                    <a:gd name="connsiteY62" fmla="*/ 15739 h 898526"/>
                    <a:gd name="connsiteX63" fmla="*/ 453992 w 1087438"/>
                    <a:gd name="connsiteY63" fmla="*/ 31477 h 898526"/>
                    <a:gd name="connsiteX64" fmla="*/ 449696 w 1087438"/>
                    <a:gd name="connsiteY64" fmla="*/ 31477 h 898526"/>
                    <a:gd name="connsiteX65" fmla="*/ 449696 w 1087438"/>
                    <a:gd name="connsiteY65" fmla="*/ 34339 h 898526"/>
                    <a:gd name="connsiteX66" fmla="*/ 449696 w 1087438"/>
                    <a:gd name="connsiteY66" fmla="*/ 434240 h 898526"/>
                    <a:gd name="connsiteX67" fmla="*/ 453992 w 1087438"/>
                    <a:gd name="connsiteY67" fmla="*/ 434240 h 898526"/>
                    <a:gd name="connsiteX68" fmla="*/ 468313 w 1087438"/>
                    <a:gd name="connsiteY68" fmla="*/ 449978 h 898526"/>
                    <a:gd name="connsiteX69" fmla="*/ 453992 w 1087438"/>
                    <a:gd name="connsiteY69" fmla="*/ 465717 h 898526"/>
                    <a:gd name="connsiteX70" fmla="*/ 449696 w 1087438"/>
                    <a:gd name="connsiteY70" fmla="*/ 465717 h 898526"/>
                    <a:gd name="connsiteX71" fmla="*/ 449696 w 1087438"/>
                    <a:gd name="connsiteY71" fmla="*/ 898525 h 898526"/>
                    <a:gd name="connsiteX72" fmla="*/ 421054 w 1087438"/>
                    <a:gd name="connsiteY72" fmla="*/ 898525 h 898526"/>
                    <a:gd name="connsiteX73" fmla="*/ 421054 w 1087438"/>
                    <a:gd name="connsiteY73" fmla="*/ 465717 h 898526"/>
                    <a:gd name="connsiteX74" fmla="*/ 310784 w 1087438"/>
                    <a:gd name="connsiteY74" fmla="*/ 465717 h 898526"/>
                    <a:gd name="connsiteX75" fmla="*/ 310784 w 1087438"/>
                    <a:gd name="connsiteY75" fmla="*/ 898525 h 898526"/>
                    <a:gd name="connsiteX76" fmla="*/ 282142 w 1087438"/>
                    <a:gd name="connsiteY76" fmla="*/ 898525 h 898526"/>
                    <a:gd name="connsiteX77" fmla="*/ 282142 w 1087438"/>
                    <a:gd name="connsiteY77" fmla="*/ 465717 h 898526"/>
                    <a:gd name="connsiteX78" fmla="*/ 278562 w 1087438"/>
                    <a:gd name="connsiteY78" fmla="*/ 465717 h 898526"/>
                    <a:gd name="connsiteX79" fmla="*/ 263525 w 1087438"/>
                    <a:gd name="connsiteY79" fmla="*/ 449978 h 898526"/>
                    <a:gd name="connsiteX80" fmla="*/ 278562 w 1087438"/>
                    <a:gd name="connsiteY80" fmla="*/ 434240 h 898526"/>
                    <a:gd name="connsiteX81" fmla="*/ 282142 w 1087438"/>
                    <a:gd name="connsiteY81" fmla="*/ 434240 h 898526"/>
                    <a:gd name="connsiteX82" fmla="*/ 282142 w 1087438"/>
                    <a:gd name="connsiteY82" fmla="*/ 34339 h 898526"/>
                    <a:gd name="connsiteX83" fmla="*/ 282142 w 1087438"/>
                    <a:gd name="connsiteY83" fmla="*/ 31477 h 898526"/>
                    <a:gd name="connsiteX84" fmla="*/ 278562 w 1087438"/>
                    <a:gd name="connsiteY84" fmla="*/ 31477 h 898526"/>
                    <a:gd name="connsiteX85" fmla="*/ 263525 w 1087438"/>
                    <a:gd name="connsiteY85" fmla="*/ 15739 h 898526"/>
                    <a:gd name="connsiteX86" fmla="*/ 278562 w 1087438"/>
                    <a:gd name="connsiteY86" fmla="*/ 0 h 89852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  <a:cxn ang="0">
                      <a:pos x="connsiteX86" y="connsiteY86"/>
                    </a:cxn>
                  </a:cxnLst>
                  <a:rect l="l" t="t" r="r" b="b"/>
                  <a:pathLst>
                    <a:path w="1087438" h="898526">
                      <a:moveTo>
                        <a:pt x="1025525" y="722313"/>
                      </a:moveTo>
                      <a:cubicBezTo>
                        <a:pt x="1025525" y="722313"/>
                        <a:pt x="1025525" y="722313"/>
                        <a:pt x="1070359" y="722313"/>
                      </a:cubicBezTo>
                      <a:cubicBezTo>
                        <a:pt x="1080322" y="722313"/>
                        <a:pt x="1087438" y="729434"/>
                        <a:pt x="1087438" y="738691"/>
                      </a:cubicBezTo>
                      <a:cubicBezTo>
                        <a:pt x="1087438" y="738691"/>
                        <a:pt x="1087438" y="738691"/>
                        <a:pt x="1087438" y="895351"/>
                      </a:cubicBezTo>
                      <a:cubicBezTo>
                        <a:pt x="1087438" y="895351"/>
                        <a:pt x="1087438" y="895351"/>
                        <a:pt x="1055414" y="895351"/>
                      </a:cubicBezTo>
                      <a:cubicBezTo>
                        <a:pt x="1055414" y="895351"/>
                        <a:pt x="1055414" y="895351"/>
                        <a:pt x="1055414" y="754357"/>
                      </a:cubicBezTo>
                      <a:cubicBezTo>
                        <a:pt x="1055414" y="754357"/>
                        <a:pt x="1055414" y="754357"/>
                        <a:pt x="1025525" y="754357"/>
                      </a:cubicBezTo>
                      <a:cubicBezTo>
                        <a:pt x="1025525" y="754357"/>
                        <a:pt x="1025525" y="754357"/>
                        <a:pt x="1025525" y="722313"/>
                      </a:cubicBezTo>
                      <a:close/>
                      <a:moveTo>
                        <a:pt x="49048" y="203200"/>
                      </a:moveTo>
                      <a:cubicBezTo>
                        <a:pt x="49048" y="203200"/>
                        <a:pt x="47625" y="203918"/>
                        <a:pt x="47625" y="206073"/>
                      </a:cubicBezTo>
                      <a:cubicBezTo>
                        <a:pt x="47625" y="206073"/>
                        <a:pt x="47625" y="206073"/>
                        <a:pt x="47625" y="520700"/>
                      </a:cubicBezTo>
                      <a:cubicBezTo>
                        <a:pt x="68964" y="520700"/>
                        <a:pt x="103106" y="520700"/>
                        <a:pt x="157163" y="520700"/>
                      </a:cubicBezTo>
                      <a:cubicBezTo>
                        <a:pt x="157163" y="520700"/>
                        <a:pt x="157163" y="520700"/>
                        <a:pt x="157163" y="206073"/>
                      </a:cubicBezTo>
                      <a:cubicBezTo>
                        <a:pt x="157163" y="204637"/>
                        <a:pt x="155741" y="203200"/>
                        <a:pt x="155741" y="203200"/>
                      </a:cubicBezTo>
                      <a:cubicBezTo>
                        <a:pt x="134402" y="203200"/>
                        <a:pt x="100972" y="203200"/>
                        <a:pt x="49048" y="203200"/>
                      </a:cubicBezTo>
                      <a:close/>
                      <a:moveTo>
                        <a:pt x="15037" y="173038"/>
                      </a:moveTo>
                      <a:cubicBezTo>
                        <a:pt x="15037" y="173038"/>
                        <a:pt x="43679" y="173038"/>
                        <a:pt x="190467" y="173038"/>
                      </a:cubicBezTo>
                      <a:cubicBezTo>
                        <a:pt x="198344" y="173038"/>
                        <a:pt x="204788" y="180186"/>
                        <a:pt x="204788" y="188763"/>
                      </a:cubicBezTo>
                      <a:cubicBezTo>
                        <a:pt x="204788" y="196625"/>
                        <a:pt x="198344" y="204488"/>
                        <a:pt x="190467" y="204488"/>
                      </a:cubicBezTo>
                      <a:cubicBezTo>
                        <a:pt x="190467" y="204488"/>
                        <a:pt x="189035" y="204488"/>
                        <a:pt x="186171" y="204488"/>
                      </a:cubicBezTo>
                      <a:cubicBezTo>
                        <a:pt x="186171" y="205203"/>
                        <a:pt x="186171" y="206632"/>
                        <a:pt x="186171" y="207347"/>
                      </a:cubicBezTo>
                      <a:cubicBezTo>
                        <a:pt x="186171" y="207347"/>
                        <a:pt x="186171" y="207347"/>
                        <a:pt x="186171" y="520415"/>
                      </a:cubicBezTo>
                      <a:cubicBezTo>
                        <a:pt x="187603" y="520415"/>
                        <a:pt x="189035" y="520415"/>
                        <a:pt x="190467" y="520415"/>
                      </a:cubicBezTo>
                      <a:cubicBezTo>
                        <a:pt x="198344" y="520415"/>
                        <a:pt x="204788" y="527562"/>
                        <a:pt x="204788" y="536140"/>
                      </a:cubicBezTo>
                      <a:cubicBezTo>
                        <a:pt x="204788" y="544002"/>
                        <a:pt x="198344" y="551864"/>
                        <a:pt x="190467" y="551864"/>
                      </a:cubicBezTo>
                      <a:cubicBezTo>
                        <a:pt x="190467" y="551864"/>
                        <a:pt x="189035" y="551864"/>
                        <a:pt x="186171" y="551864"/>
                      </a:cubicBezTo>
                      <a:cubicBezTo>
                        <a:pt x="186171" y="551864"/>
                        <a:pt x="186171" y="551864"/>
                        <a:pt x="186171" y="898526"/>
                      </a:cubicBezTo>
                      <a:cubicBezTo>
                        <a:pt x="186171" y="898526"/>
                        <a:pt x="186171" y="898526"/>
                        <a:pt x="157529" y="898526"/>
                      </a:cubicBezTo>
                      <a:cubicBezTo>
                        <a:pt x="157529" y="898526"/>
                        <a:pt x="157529" y="898526"/>
                        <a:pt x="157529" y="551864"/>
                      </a:cubicBezTo>
                      <a:cubicBezTo>
                        <a:pt x="136048" y="551864"/>
                        <a:pt x="101678" y="551864"/>
                        <a:pt x="47259" y="551864"/>
                      </a:cubicBezTo>
                      <a:cubicBezTo>
                        <a:pt x="47259" y="551864"/>
                        <a:pt x="47259" y="551864"/>
                        <a:pt x="47259" y="898526"/>
                      </a:cubicBezTo>
                      <a:cubicBezTo>
                        <a:pt x="47259" y="898526"/>
                        <a:pt x="47259" y="898526"/>
                        <a:pt x="18617" y="898526"/>
                      </a:cubicBezTo>
                      <a:cubicBezTo>
                        <a:pt x="18617" y="898526"/>
                        <a:pt x="18617" y="898526"/>
                        <a:pt x="18617" y="551864"/>
                      </a:cubicBezTo>
                      <a:cubicBezTo>
                        <a:pt x="17185" y="551864"/>
                        <a:pt x="16469" y="551864"/>
                        <a:pt x="15037" y="551864"/>
                      </a:cubicBezTo>
                      <a:cubicBezTo>
                        <a:pt x="7161" y="551864"/>
                        <a:pt x="0" y="544002"/>
                        <a:pt x="0" y="536140"/>
                      </a:cubicBezTo>
                      <a:cubicBezTo>
                        <a:pt x="0" y="527562"/>
                        <a:pt x="7161" y="520415"/>
                        <a:pt x="15037" y="520415"/>
                      </a:cubicBezTo>
                      <a:cubicBezTo>
                        <a:pt x="15037" y="520415"/>
                        <a:pt x="16469" y="520415"/>
                        <a:pt x="18617" y="520415"/>
                      </a:cubicBezTo>
                      <a:cubicBezTo>
                        <a:pt x="18617" y="520415"/>
                        <a:pt x="18617" y="520415"/>
                        <a:pt x="18617" y="207347"/>
                      </a:cubicBezTo>
                      <a:cubicBezTo>
                        <a:pt x="18617" y="206632"/>
                        <a:pt x="18617" y="205203"/>
                        <a:pt x="18617" y="204488"/>
                      </a:cubicBezTo>
                      <a:cubicBezTo>
                        <a:pt x="17901" y="204488"/>
                        <a:pt x="16469" y="204488"/>
                        <a:pt x="15037" y="204488"/>
                      </a:cubicBezTo>
                      <a:cubicBezTo>
                        <a:pt x="7161" y="204488"/>
                        <a:pt x="0" y="196625"/>
                        <a:pt x="0" y="188763"/>
                      </a:cubicBezTo>
                      <a:cubicBezTo>
                        <a:pt x="0" y="180186"/>
                        <a:pt x="7161" y="173038"/>
                        <a:pt x="15037" y="173038"/>
                      </a:cubicBezTo>
                      <a:close/>
                      <a:moveTo>
                        <a:pt x="634139" y="133350"/>
                      </a:moveTo>
                      <a:cubicBezTo>
                        <a:pt x="634139" y="133350"/>
                        <a:pt x="634139" y="133350"/>
                        <a:pt x="913675" y="133350"/>
                      </a:cubicBezTo>
                      <a:cubicBezTo>
                        <a:pt x="922254" y="133350"/>
                        <a:pt x="928688" y="141322"/>
                        <a:pt x="928688" y="150744"/>
                      </a:cubicBezTo>
                      <a:cubicBezTo>
                        <a:pt x="928688" y="150744"/>
                        <a:pt x="928688" y="153643"/>
                        <a:pt x="928688" y="200025"/>
                      </a:cubicBezTo>
                      <a:cubicBezTo>
                        <a:pt x="928688" y="200025"/>
                        <a:pt x="915820" y="198576"/>
                        <a:pt x="900091" y="197126"/>
                      </a:cubicBezTo>
                      <a:cubicBezTo>
                        <a:pt x="900091" y="197126"/>
                        <a:pt x="900091" y="197126"/>
                        <a:pt x="900091" y="165963"/>
                      </a:cubicBezTo>
                      <a:cubicBezTo>
                        <a:pt x="900091" y="165963"/>
                        <a:pt x="900091" y="165963"/>
                        <a:pt x="647722" y="165963"/>
                      </a:cubicBezTo>
                      <a:cubicBezTo>
                        <a:pt x="647722" y="165963"/>
                        <a:pt x="647722" y="165963"/>
                        <a:pt x="647722" y="197126"/>
                      </a:cubicBezTo>
                      <a:cubicBezTo>
                        <a:pt x="647722" y="197126"/>
                        <a:pt x="633424" y="198576"/>
                        <a:pt x="619125" y="200025"/>
                      </a:cubicBezTo>
                      <a:cubicBezTo>
                        <a:pt x="619125" y="200025"/>
                        <a:pt x="619125" y="197126"/>
                        <a:pt x="619125" y="150744"/>
                      </a:cubicBezTo>
                      <a:cubicBezTo>
                        <a:pt x="619125" y="141322"/>
                        <a:pt x="625560" y="133350"/>
                        <a:pt x="634139" y="133350"/>
                      </a:cubicBezTo>
                      <a:close/>
                      <a:moveTo>
                        <a:pt x="312573" y="31750"/>
                      </a:moveTo>
                      <a:cubicBezTo>
                        <a:pt x="312573" y="31750"/>
                        <a:pt x="311150" y="32466"/>
                        <a:pt x="311150" y="34615"/>
                      </a:cubicBezTo>
                      <a:cubicBezTo>
                        <a:pt x="311150" y="34615"/>
                        <a:pt x="311150" y="34615"/>
                        <a:pt x="311150" y="434975"/>
                      </a:cubicBezTo>
                      <a:cubicBezTo>
                        <a:pt x="332489" y="434975"/>
                        <a:pt x="366631" y="434975"/>
                        <a:pt x="420688" y="434975"/>
                      </a:cubicBezTo>
                      <a:cubicBezTo>
                        <a:pt x="420688" y="434975"/>
                        <a:pt x="420688" y="434975"/>
                        <a:pt x="420688" y="34615"/>
                      </a:cubicBezTo>
                      <a:cubicBezTo>
                        <a:pt x="420688" y="33183"/>
                        <a:pt x="419266" y="31750"/>
                        <a:pt x="419266" y="31750"/>
                      </a:cubicBezTo>
                      <a:cubicBezTo>
                        <a:pt x="397927" y="31750"/>
                        <a:pt x="364497" y="31750"/>
                        <a:pt x="312573" y="31750"/>
                      </a:cubicBezTo>
                      <a:close/>
                      <a:moveTo>
                        <a:pt x="278562" y="0"/>
                      </a:moveTo>
                      <a:cubicBezTo>
                        <a:pt x="278562" y="0"/>
                        <a:pt x="307204" y="0"/>
                        <a:pt x="453992" y="0"/>
                      </a:cubicBezTo>
                      <a:cubicBezTo>
                        <a:pt x="461869" y="0"/>
                        <a:pt x="468313" y="7154"/>
                        <a:pt x="468313" y="15739"/>
                      </a:cubicBezTo>
                      <a:cubicBezTo>
                        <a:pt x="468313" y="23608"/>
                        <a:pt x="461869" y="31477"/>
                        <a:pt x="453992" y="31477"/>
                      </a:cubicBezTo>
                      <a:cubicBezTo>
                        <a:pt x="453992" y="31477"/>
                        <a:pt x="452560" y="31477"/>
                        <a:pt x="449696" y="31477"/>
                      </a:cubicBezTo>
                      <a:cubicBezTo>
                        <a:pt x="449696" y="32193"/>
                        <a:pt x="449696" y="33623"/>
                        <a:pt x="449696" y="34339"/>
                      </a:cubicBezTo>
                      <a:cubicBezTo>
                        <a:pt x="449696" y="34339"/>
                        <a:pt x="449696" y="34339"/>
                        <a:pt x="449696" y="434240"/>
                      </a:cubicBezTo>
                      <a:cubicBezTo>
                        <a:pt x="451128" y="434240"/>
                        <a:pt x="452560" y="434240"/>
                        <a:pt x="453992" y="434240"/>
                      </a:cubicBezTo>
                      <a:cubicBezTo>
                        <a:pt x="461869" y="434240"/>
                        <a:pt x="468313" y="441393"/>
                        <a:pt x="468313" y="449978"/>
                      </a:cubicBezTo>
                      <a:cubicBezTo>
                        <a:pt x="468313" y="457847"/>
                        <a:pt x="461869" y="465717"/>
                        <a:pt x="453992" y="465717"/>
                      </a:cubicBezTo>
                      <a:cubicBezTo>
                        <a:pt x="453992" y="465717"/>
                        <a:pt x="452560" y="465717"/>
                        <a:pt x="449696" y="465717"/>
                      </a:cubicBezTo>
                      <a:cubicBezTo>
                        <a:pt x="449696" y="465717"/>
                        <a:pt x="449696" y="465717"/>
                        <a:pt x="449696" y="898525"/>
                      </a:cubicBezTo>
                      <a:cubicBezTo>
                        <a:pt x="449696" y="898525"/>
                        <a:pt x="449696" y="898525"/>
                        <a:pt x="421054" y="898525"/>
                      </a:cubicBezTo>
                      <a:cubicBezTo>
                        <a:pt x="421054" y="898525"/>
                        <a:pt x="421054" y="898525"/>
                        <a:pt x="421054" y="465717"/>
                      </a:cubicBezTo>
                      <a:cubicBezTo>
                        <a:pt x="399573" y="465717"/>
                        <a:pt x="365203" y="465717"/>
                        <a:pt x="310784" y="465717"/>
                      </a:cubicBezTo>
                      <a:cubicBezTo>
                        <a:pt x="310784" y="465717"/>
                        <a:pt x="310784" y="465717"/>
                        <a:pt x="310784" y="898525"/>
                      </a:cubicBezTo>
                      <a:cubicBezTo>
                        <a:pt x="310784" y="898525"/>
                        <a:pt x="310784" y="898525"/>
                        <a:pt x="282142" y="898525"/>
                      </a:cubicBezTo>
                      <a:cubicBezTo>
                        <a:pt x="282142" y="898525"/>
                        <a:pt x="282142" y="898525"/>
                        <a:pt x="282142" y="465717"/>
                      </a:cubicBezTo>
                      <a:cubicBezTo>
                        <a:pt x="280710" y="465717"/>
                        <a:pt x="279994" y="465717"/>
                        <a:pt x="278562" y="465717"/>
                      </a:cubicBezTo>
                      <a:cubicBezTo>
                        <a:pt x="270686" y="465717"/>
                        <a:pt x="263525" y="457847"/>
                        <a:pt x="263525" y="449978"/>
                      </a:cubicBezTo>
                      <a:cubicBezTo>
                        <a:pt x="263525" y="441393"/>
                        <a:pt x="270686" y="434240"/>
                        <a:pt x="278562" y="434240"/>
                      </a:cubicBezTo>
                      <a:cubicBezTo>
                        <a:pt x="278562" y="434240"/>
                        <a:pt x="279994" y="434240"/>
                        <a:pt x="282142" y="434240"/>
                      </a:cubicBezTo>
                      <a:cubicBezTo>
                        <a:pt x="282142" y="434240"/>
                        <a:pt x="282142" y="434240"/>
                        <a:pt x="282142" y="34339"/>
                      </a:cubicBezTo>
                      <a:cubicBezTo>
                        <a:pt x="282142" y="33623"/>
                        <a:pt x="282142" y="32193"/>
                        <a:pt x="282142" y="31477"/>
                      </a:cubicBezTo>
                      <a:cubicBezTo>
                        <a:pt x="281426" y="31477"/>
                        <a:pt x="279994" y="31477"/>
                        <a:pt x="278562" y="31477"/>
                      </a:cubicBezTo>
                      <a:cubicBezTo>
                        <a:pt x="270686" y="31477"/>
                        <a:pt x="263525" y="23608"/>
                        <a:pt x="263525" y="15739"/>
                      </a:cubicBezTo>
                      <a:cubicBezTo>
                        <a:pt x="263525" y="7154"/>
                        <a:pt x="270686" y="0"/>
                        <a:pt x="278562" y="0"/>
                      </a:cubicBezTo>
                      <a:close/>
                    </a:path>
                  </a:pathLst>
                </a:custGeom>
                <a:solidFill>
                  <a:srgbClr val="004B38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en-US"/>
                </a:p>
              </p:txBody>
            </p:sp>
            <p:sp>
              <p:nvSpPr>
                <p:cNvPr id="66" name="Freeform 6">
                  <a:extLst>
                    <a:ext uri="{FF2B5EF4-FFF2-40B4-BE49-F238E27FC236}">
                      <a16:creationId xmlns:a16="http://schemas.microsoft.com/office/drawing/2014/main" id="{40314760-E51F-6398-9828-65AB521EF0C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442744" y="2774950"/>
                  <a:ext cx="1306513" cy="1308100"/>
                </a:xfrm>
                <a:custGeom>
                  <a:avLst/>
                  <a:gdLst>
                    <a:gd name="connsiteX0" fmla="*/ 118514 w 1306513"/>
                    <a:gd name="connsiteY0" fmla="*/ 1160462 h 1308100"/>
                    <a:gd name="connsiteX1" fmla="*/ 1187999 w 1306513"/>
                    <a:gd name="connsiteY1" fmla="*/ 1160462 h 1308100"/>
                    <a:gd name="connsiteX2" fmla="*/ 1203706 w 1306513"/>
                    <a:gd name="connsiteY2" fmla="*/ 1176153 h 1308100"/>
                    <a:gd name="connsiteX3" fmla="*/ 1203706 w 1306513"/>
                    <a:gd name="connsiteY3" fmla="*/ 1204682 h 1308100"/>
                    <a:gd name="connsiteX4" fmla="*/ 1290806 w 1306513"/>
                    <a:gd name="connsiteY4" fmla="*/ 1204682 h 1308100"/>
                    <a:gd name="connsiteX5" fmla="*/ 1306513 w 1306513"/>
                    <a:gd name="connsiteY5" fmla="*/ 1220373 h 1308100"/>
                    <a:gd name="connsiteX6" fmla="*/ 1306513 w 1306513"/>
                    <a:gd name="connsiteY6" fmla="*/ 1292409 h 1308100"/>
                    <a:gd name="connsiteX7" fmla="*/ 1290806 w 1306513"/>
                    <a:gd name="connsiteY7" fmla="*/ 1308100 h 1308100"/>
                    <a:gd name="connsiteX8" fmla="*/ 15706 w 1306513"/>
                    <a:gd name="connsiteY8" fmla="*/ 1308100 h 1308100"/>
                    <a:gd name="connsiteX9" fmla="*/ 0 w 1306513"/>
                    <a:gd name="connsiteY9" fmla="*/ 1292409 h 1308100"/>
                    <a:gd name="connsiteX10" fmla="*/ 0 w 1306513"/>
                    <a:gd name="connsiteY10" fmla="*/ 1220373 h 1308100"/>
                    <a:gd name="connsiteX11" fmla="*/ 15706 w 1306513"/>
                    <a:gd name="connsiteY11" fmla="*/ 1204682 h 1308100"/>
                    <a:gd name="connsiteX12" fmla="*/ 102807 w 1306513"/>
                    <a:gd name="connsiteY12" fmla="*/ 1204682 h 1308100"/>
                    <a:gd name="connsiteX13" fmla="*/ 102807 w 1306513"/>
                    <a:gd name="connsiteY13" fmla="*/ 1176153 h 1308100"/>
                    <a:gd name="connsiteX14" fmla="*/ 118514 w 1306513"/>
                    <a:gd name="connsiteY14" fmla="*/ 1160462 h 1308100"/>
                    <a:gd name="connsiteX15" fmla="*/ 907952 w 1306513"/>
                    <a:gd name="connsiteY15" fmla="*/ 933450 h 1308100"/>
                    <a:gd name="connsiteX16" fmla="*/ 996157 w 1306513"/>
                    <a:gd name="connsiteY16" fmla="*/ 933450 h 1308100"/>
                    <a:gd name="connsiteX17" fmla="*/ 1084362 w 1306513"/>
                    <a:gd name="connsiteY17" fmla="*/ 933450 h 1308100"/>
                    <a:gd name="connsiteX18" fmla="*/ 1100138 w 1306513"/>
                    <a:gd name="connsiteY18" fmla="*/ 948446 h 1308100"/>
                    <a:gd name="connsiteX19" fmla="*/ 1100138 w 1306513"/>
                    <a:gd name="connsiteY19" fmla="*/ 1036992 h 1308100"/>
                    <a:gd name="connsiteX20" fmla="*/ 1100138 w 1306513"/>
                    <a:gd name="connsiteY20" fmla="*/ 1125538 h 1308100"/>
                    <a:gd name="connsiteX21" fmla="*/ 892175 w 1306513"/>
                    <a:gd name="connsiteY21" fmla="*/ 1125538 h 1308100"/>
                    <a:gd name="connsiteX22" fmla="*/ 892175 w 1306513"/>
                    <a:gd name="connsiteY22" fmla="*/ 1036992 h 1308100"/>
                    <a:gd name="connsiteX23" fmla="*/ 892175 w 1306513"/>
                    <a:gd name="connsiteY23" fmla="*/ 948446 h 1308100"/>
                    <a:gd name="connsiteX24" fmla="*/ 907952 w 1306513"/>
                    <a:gd name="connsiteY24" fmla="*/ 933450 h 1308100"/>
                    <a:gd name="connsiteX25" fmla="*/ 668857 w 1306513"/>
                    <a:gd name="connsiteY25" fmla="*/ 933450 h 1308100"/>
                    <a:gd name="connsiteX26" fmla="*/ 757238 w 1306513"/>
                    <a:gd name="connsiteY26" fmla="*/ 933450 h 1308100"/>
                    <a:gd name="connsiteX27" fmla="*/ 845620 w 1306513"/>
                    <a:gd name="connsiteY27" fmla="*/ 933450 h 1308100"/>
                    <a:gd name="connsiteX28" fmla="*/ 862013 w 1306513"/>
                    <a:gd name="connsiteY28" fmla="*/ 948446 h 1308100"/>
                    <a:gd name="connsiteX29" fmla="*/ 862013 w 1306513"/>
                    <a:gd name="connsiteY29" fmla="*/ 1036992 h 1308100"/>
                    <a:gd name="connsiteX30" fmla="*/ 862013 w 1306513"/>
                    <a:gd name="connsiteY30" fmla="*/ 1125538 h 1308100"/>
                    <a:gd name="connsiteX31" fmla="*/ 652463 w 1306513"/>
                    <a:gd name="connsiteY31" fmla="*/ 1125538 h 1308100"/>
                    <a:gd name="connsiteX32" fmla="*/ 652463 w 1306513"/>
                    <a:gd name="connsiteY32" fmla="*/ 1036992 h 1308100"/>
                    <a:gd name="connsiteX33" fmla="*/ 652463 w 1306513"/>
                    <a:gd name="connsiteY33" fmla="*/ 948446 h 1308100"/>
                    <a:gd name="connsiteX34" fmla="*/ 668857 w 1306513"/>
                    <a:gd name="connsiteY34" fmla="*/ 933450 h 1308100"/>
                    <a:gd name="connsiteX35" fmla="*/ 907952 w 1306513"/>
                    <a:gd name="connsiteY35" fmla="*/ 692150 h 1308100"/>
                    <a:gd name="connsiteX36" fmla="*/ 996157 w 1306513"/>
                    <a:gd name="connsiteY36" fmla="*/ 692150 h 1308100"/>
                    <a:gd name="connsiteX37" fmla="*/ 1084362 w 1306513"/>
                    <a:gd name="connsiteY37" fmla="*/ 692150 h 1308100"/>
                    <a:gd name="connsiteX38" fmla="*/ 1100138 w 1306513"/>
                    <a:gd name="connsiteY38" fmla="*/ 707938 h 1308100"/>
                    <a:gd name="connsiteX39" fmla="*/ 1100138 w 1306513"/>
                    <a:gd name="connsiteY39" fmla="*/ 796925 h 1308100"/>
                    <a:gd name="connsiteX40" fmla="*/ 1100138 w 1306513"/>
                    <a:gd name="connsiteY40" fmla="*/ 885912 h 1308100"/>
                    <a:gd name="connsiteX41" fmla="*/ 1084362 w 1306513"/>
                    <a:gd name="connsiteY41" fmla="*/ 901700 h 1308100"/>
                    <a:gd name="connsiteX42" fmla="*/ 996157 w 1306513"/>
                    <a:gd name="connsiteY42" fmla="*/ 901700 h 1308100"/>
                    <a:gd name="connsiteX43" fmla="*/ 907952 w 1306513"/>
                    <a:gd name="connsiteY43" fmla="*/ 901700 h 1308100"/>
                    <a:gd name="connsiteX44" fmla="*/ 892175 w 1306513"/>
                    <a:gd name="connsiteY44" fmla="*/ 885912 h 1308100"/>
                    <a:gd name="connsiteX45" fmla="*/ 892175 w 1306513"/>
                    <a:gd name="connsiteY45" fmla="*/ 796925 h 1308100"/>
                    <a:gd name="connsiteX46" fmla="*/ 892175 w 1306513"/>
                    <a:gd name="connsiteY46" fmla="*/ 707938 h 1308100"/>
                    <a:gd name="connsiteX47" fmla="*/ 907952 w 1306513"/>
                    <a:gd name="connsiteY47" fmla="*/ 692150 h 1308100"/>
                    <a:gd name="connsiteX48" fmla="*/ 668857 w 1306513"/>
                    <a:gd name="connsiteY48" fmla="*/ 692150 h 1308100"/>
                    <a:gd name="connsiteX49" fmla="*/ 757238 w 1306513"/>
                    <a:gd name="connsiteY49" fmla="*/ 692150 h 1308100"/>
                    <a:gd name="connsiteX50" fmla="*/ 845620 w 1306513"/>
                    <a:gd name="connsiteY50" fmla="*/ 692150 h 1308100"/>
                    <a:gd name="connsiteX51" fmla="*/ 862013 w 1306513"/>
                    <a:gd name="connsiteY51" fmla="*/ 707938 h 1308100"/>
                    <a:gd name="connsiteX52" fmla="*/ 862013 w 1306513"/>
                    <a:gd name="connsiteY52" fmla="*/ 796925 h 1308100"/>
                    <a:gd name="connsiteX53" fmla="*/ 862013 w 1306513"/>
                    <a:gd name="connsiteY53" fmla="*/ 885912 h 1308100"/>
                    <a:gd name="connsiteX54" fmla="*/ 845620 w 1306513"/>
                    <a:gd name="connsiteY54" fmla="*/ 901700 h 1308100"/>
                    <a:gd name="connsiteX55" fmla="*/ 757238 w 1306513"/>
                    <a:gd name="connsiteY55" fmla="*/ 901700 h 1308100"/>
                    <a:gd name="connsiteX56" fmla="*/ 668857 w 1306513"/>
                    <a:gd name="connsiteY56" fmla="*/ 901700 h 1308100"/>
                    <a:gd name="connsiteX57" fmla="*/ 652463 w 1306513"/>
                    <a:gd name="connsiteY57" fmla="*/ 885912 h 1308100"/>
                    <a:gd name="connsiteX58" fmla="*/ 652463 w 1306513"/>
                    <a:gd name="connsiteY58" fmla="*/ 796925 h 1308100"/>
                    <a:gd name="connsiteX59" fmla="*/ 652463 w 1306513"/>
                    <a:gd name="connsiteY59" fmla="*/ 707938 h 1308100"/>
                    <a:gd name="connsiteX60" fmla="*/ 668857 w 1306513"/>
                    <a:gd name="connsiteY60" fmla="*/ 692150 h 1308100"/>
                    <a:gd name="connsiteX61" fmla="*/ 996157 w 1306513"/>
                    <a:gd name="connsiteY61" fmla="*/ 452437 h 1308100"/>
                    <a:gd name="connsiteX62" fmla="*/ 1100138 w 1306513"/>
                    <a:gd name="connsiteY62" fmla="*/ 505542 h 1308100"/>
                    <a:gd name="connsiteX63" fmla="*/ 1099426 w 1306513"/>
                    <a:gd name="connsiteY63" fmla="*/ 510566 h 1308100"/>
                    <a:gd name="connsiteX64" fmla="*/ 1099426 w 1306513"/>
                    <a:gd name="connsiteY64" fmla="*/ 511283 h 1308100"/>
                    <a:gd name="connsiteX65" fmla="*/ 1099426 w 1306513"/>
                    <a:gd name="connsiteY65" fmla="*/ 557930 h 1308100"/>
                    <a:gd name="connsiteX66" fmla="*/ 1099426 w 1306513"/>
                    <a:gd name="connsiteY66" fmla="*/ 646199 h 1308100"/>
                    <a:gd name="connsiteX67" fmla="*/ 1083758 w 1306513"/>
                    <a:gd name="connsiteY67" fmla="*/ 661987 h 1308100"/>
                    <a:gd name="connsiteX68" fmla="*/ 996157 w 1306513"/>
                    <a:gd name="connsiteY68" fmla="*/ 661987 h 1308100"/>
                    <a:gd name="connsiteX69" fmla="*/ 908556 w 1306513"/>
                    <a:gd name="connsiteY69" fmla="*/ 661987 h 1308100"/>
                    <a:gd name="connsiteX70" fmla="*/ 892887 w 1306513"/>
                    <a:gd name="connsiteY70" fmla="*/ 646199 h 1308100"/>
                    <a:gd name="connsiteX71" fmla="*/ 892887 w 1306513"/>
                    <a:gd name="connsiteY71" fmla="*/ 557930 h 1308100"/>
                    <a:gd name="connsiteX72" fmla="*/ 892887 w 1306513"/>
                    <a:gd name="connsiteY72" fmla="*/ 511283 h 1308100"/>
                    <a:gd name="connsiteX73" fmla="*/ 892887 w 1306513"/>
                    <a:gd name="connsiteY73" fmla="*/ 510566 h 1308100"/>
                    <a:gd name="connsiteX74" fmla="*/ 892175 w 1306513"/>
                    <a:gd name="connsiteY74" fmla="*/ 505542 h 1308100"/>
                    <a:gd name="connsiteX75" fmla="*/ 996157 w 1306513"/>
                    <a:gd name="connsiteY75" fmla="*/ 452437 h 1308100"/>
                    <a:gd name="connsiteX76" fmla="*/ 757951 w 1306513"/>
                    <a:gd name="connsiteY76" fmla="*/ 452437 h 1308100"/>
                    <a:gd name="connsiteX77" fmla="*/ 862013 w 1306513"/>
                    <a:gd name="connsiteY77" fmla="*/ 505542 h 1308100"/>
                    <a:gd name="connsiteX78" fmla="*/ 862013 w 1306513"/>
                    <a:gd name="connsiteY78" fmla="*/ 510566 h 1308100"/>
                    <a:gd name="connsiteX79" fmla="*/ 862013 w 1306513"/>
                    <a:gd name="connsiteY79" fmla="*/ 511283 h 1308100"/>
                    <a:gd name="connsiteX80" fmla="*/ 862013 w 1306513"/>
                    <a:gd name="connsiteY80" fmla="*/ 557930 h 1308100"/>
                    <a:gd name="connsiteX81" fmla="*/ 862013 w 1306513"/>
                    <a:gd name="connsiteY81" fmla="*/ 646199 h 1308100"/>
                    <a:gd name="connsiteX82" fmla="*/ 845620 w 1306513"/>
                    <a:gd name="connsiteY82" fmla="*/ 661987 h 1308100"/>
                    <a:gd name="connsiteX83" fmla="*/ 757238 w 1306513"/>
                    <a:gd name="connsiteY83" fmla="*/ 661987 h 1308100"/>
                    <a:gd name="connsiteX84" fmla="*/ 668857 w 1306513"/>
                    <a:gd name="connsiteY84" fmla="*/ 661987 h 1308100"/>
                    <a:gd name="connsiteX85" fmla="*/ 652463 w 1306513"/>
                    <a:gd name="connsiteY85" fmla="*/ 646199 h 1308100"/>
                    <a:gd name="connsiteX86" fmla="*/ 652463 w 1306513"/>
                    <a:gd name="connsiteY86" fmla="*/ 557930 h 1308100"/>
                    <a:gd name="connsiteX87" fmla="*/ 652463 w 1306513"/>
                    <a:gd name="connsiteY87" fmla="*/ 511283 h 1308100"/>
                    <a:gd name="connsiteX88" fmla="*/ 652463 w 1306513"/>
                    <a:gd name="connsiteY88" fmla="*/ 510566 h 1308100"/>
                    <a:gd name="connsiteX89" fmla="*/ 652463 w 1306513"/>
                    <a:gd name="connsiteY89" fmla="*/ 505542 h 1308100"/>
                    <a:gd name="connsiteX90" fmla="*/ 757951 w 1306513"/>
                    <a:gd name="connsiteY90" fmla="*/ 452437 h 1308100"/>
                    <a:gd name="connsiteX91" fmla="*/ 145762 w 1306513"/>
                    <a:gd name="connsiteY91" fmla="*/ 173037 h 1308100"/>
                    <a:gd name="connsiteX92" fmla="*/ 142876 w 1306513"/>
                    <a:gd name="connsiteY92" fmla="*/ 195906 h 1308100"/>
                    <a:gd name="connsiteX93" fmla="*/ 145041 w 1306513"/>
                    <a:gd name="connsiteY93" fmla="*/ 216632 h 1308100"/>
                    <a:gd name="connsiteX94" fmla="*/ 217200 w 1306513"/>
                    <a:gd name="connsiteY94" fmla="*/ 275949 h 1308100"/>
                    <a:gd name="connsiteX95" fmla="*/ 228745 w 1306513"/>
                    <a:gd name="connsiteY95" fmla="*/ 320259 h 1308100"/>
                    <a:gd name="connsiteX96" fmla="*/ 216478 w 1306513"/>
                    <a:gd name="connsiteY96" fmla="*/ 355277 h 1308100"/>
                    <a:gd name="connsiteX97" fmla="*/ 209262 w 1306513"/>
                    <a:gd name="connsiteY97" fmla="*/ 366712 h 1308100"/>
                    <a:gd name="connsiteX98" fmla="*/ 210705 w 1306513"/>
                    <a:gd name="connsiteY98" fmla="*/ 344557 h 1308100"/>
                    <a:gd name="connsiteX99" fmla="*/ 206376 w 1306513"/>
                    <a:gd name="connsiteY99" fmla="*/ 323117 h 1308100"/>
                    <a:gd name="connsiteX100" fmla="*/ 142154 w 1306513"/>
                    <a:gd name="connsiteY100" fmla="*/ 276664 h 1308100"/>
                    <a:gd name="connsiteX101" fmla="*/ 121228 w 1306513"/>
                    <a:gd name="connsiteY101" fmla="*/ 233784 h 1308100"/>
                    <a:gd name="connsiteX102" fmla="*/ 135660 w 1306513"/>
                    <a:gd name="connsiteY102" fmla="*/ 184472 h 1308100"/>
                    <a:gd name="connsiteX103" fmla="*/ 145762 w 1306513"/>
                    <a:gd name="connsiteY103" fmla="*/ 173037 h 1308100"/>
                    <a:gd name="connsiteX104" fmla="*/ 408906 w 1306513"/>
                    <a:gd name="connsiteY104" fmla="*/ 0 h 1308100"/>
                    <a:gd name="connsiteX105" fmla="*/ 406061 w 1306513"/>
                    <a:gd name="connsiteY105" fmla="*/ 22954 h 1308100"/>
                    <a:gd name="connsiteX106" fmla="*/ 408195 w 1306513"/>
                    <a:gd name="connsiteY106" fmla="*/ 43756 h 1308100"/>
                    <a:gd name="connsiteX107" fmla="*/ 479323 w 1306513"/>
                    <a:gd name="connsiteY107" fmla="*/ 102576 h 1308100"/>
                    <a:gd name="connsiteX108" fmla="*/ 490704 w 1306513"/>
                    <a:gd name="connsiteY108" fmla="*/ 147049 h 1308100"/>
                    <a:gd name="connsiteX109" fmla="*/ 478612 w 1306513"/>
                    <a:gd name="connsiteY109" fmla="*/ 182198 h 1308100"/>
                    <a:gd name="connsiteX110" fmla="*/ 471499 w 1306513"/>
                    <a:gd name="connsiteY110" fmla="*/ 193675 h 1308100"/>
                    <a:gd name="connsiteX111" fmla="*/ 472922 w 1306513"/>
                    <a:gd name="connsiteY111" fmla="*/ 171438 h 1308100"/>
                    <a:gd name="connsiteX112" fmla="*/ 468654 w 1306513"/>
                    <a:gd name="connsiteY112" fmla="*/ 149919 h 1308100"/>
                    <a:gd name="connsiteX113" fmla="*/ 405349 w 1306513"/>
                    <a:gd name="connsiteY113" fmla="*/ 103293 h 1308100"/>
                    <a:gd name="connsiteX114" fmla="*/ 384722 w 1306513"/>
                    <a:gd name="connsiteY114" fmla="*/ 60972 h 1308100"/>
                    <a:gd name="connsiteX115" fmla="*/ 398948 w 1306513"/>
                    <a:gd name="connsiteY115" fmla="*/ 11477 h 1308100"/>
                    <a:gd name="connsiteX116" fmla="*/ 408906 w 1306513"/>
                    <a:gd name="connsiteY116" fmla="*/ 0 h 13081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  <a:cxn ang="0">
                      <a:pos x="connsiteX86" y="connsiteY86"/>
                    </a:cxn>
                    <a:cxn ang="0">
                      <a:pos x="connsiteX87" y="connsiteY87"/>
                    </a:cxn>
                    <a:cxn ang="0">
                      <a:pos x="connsiteX88" y="connsiteY88"/>
                    </a:cxn>
                    <a:cxn ang="0">
                      <a:pos x="connsiteX89" y="connsiteY89"/>
                    </a:cxn>
                    <a:cxn ang="0">
                      <a:pos x="connsiteX90" y="connsiteY90"/>
                    </a:cxn>
                    <a:cxn ang="0">
                      <a:pos x="connsiteX91" y="connsiteY91"/>
                    </a:cxn>
                    <a:cxn ang="0">
                      <a:pos x="connsiteX92" y="connsiteY92"/>
                    </a:cxn>
                    <a:cxn ang="0">
                      <a:pos x="connsiteX93" y="connsiteY93"/>
                    </a:cxn>
                    <a:cxn ang="0">
                      <a:pos x="connsiteX94" y="connsiteY94"/>
                    </a:cxn>
                    <a:cxn ang="0">
                      <a:pos x="connsiteX95" y="connsiteY95"/>
                    </a:cxn>
                    <a:cxn ang="0">
                      <a:pos x="connsiteX96" y="connsiteY96"/>
                    </a:cxn>
                    <a:cxn ang="0">
                      <a:pos x="connsiteX97" y="connsiteY97"/>
                    </a:cxn>
                    <a:cxn ang="0">
                      <a:pos x="connsiteX98" y="connsiteY98"/>
                    </a:cxn>
                    <a:cxn ang="0">
                      <a:pos x="connsiteX99" y="connsiteY99"/>
                    </a:cxn>
                    <a:cxn ang="0">
                      <a:pos x="connsiteX100" y="connsiteY100"/>
                    </a:cxn>
                    <a:cxn ang="0">
                      <a:pos x="connsiteX101" y="connsiteY101"/>
                    </a:cxn>
                    <a:cxn ang="0">
                      <a:pos x="connsiteX102" y="connsiteY102"/>
                    </a:cxn>
                    <a:cxn ang="0">
                      <a:pos x="connsiteX103" y="connsiteY103"/>
                    </a:cxn>
                    <a:cxn ang="0">
                      <a:pos x="connsiteX104" y="connsiteY104"/>
                    </a:cxn>
                    <a:cxn ang="0">
                      <a:pos x="connsiteX105" y="connsiteY105"/>
                    </a:cxn>
                    <a:cxn ang="0">
                      <a:pos x="connsiteX106" y="connsiteY106"/>
                    </a:cxn>
                    <a:cxn ang="0">
                      <a:pos x="connsiteX107" y="connsiteY107"/>
                    </a:cxn>
                    <a:cxn ang="0">
                      <a:pos x="connsiteX108" y="connsiteY108"/>
                    </a:cxn>
                    <a:cxn ang="0">
                      <a:pos x="connsiteX109" y="connsiteY109"/>
                    </a:cxn>
                    <a:cxn ang="0">
                      <a:pos x="connsiteX110" y="connsiteY110"/>
                    </a:cxn>
                    <a:cxn ang="0">
                      <a:pos x="connsiteX111" y="connsiteY111"/>
                    </a:cxn>
                    <a:cxn ang="0">
                      <a:pos x="connsiteX112" y="connsiteY112"/>
                    </a:cxn>
                    <a:cxn ang="0">
                      <a:pos x="connsiteX113" y="connsiteY113"/>
                    </a:cxn>
                    <a:cxn ang="0">
                      <a:pos x="connsiteX114" y="connsiteY114"/>
                    </a:cxn>
                    <a:cxn ang="0">
                      <a:pos x="connsiteX115" y="connsiteY115"/>
                    </a:cxn>
                    <a:cxn ang="0">
                      <a:pos x="connsiteX116" y="connsiteY116"/>
                    </a:cxn>
                  </a:cxnLst>
                  <a:rect l="l" t="t" r="r" b="b"/>
                  <a:pathLst>
                    <a:path w="1306513" h="1308100">
                      <a:moveTo>
                        <a:pt x="118514" y="1160462"/>
                      </a:moveTo>
                      <a:cubicBezTo>
                        <a:pt x="118514" y="1160462"/>
                        <a:pt x="118514" y="1160462"/>
                        <a:pt x="1187999" y="1160462"/>
                      </a:cubicBezTo>
                      <a:cubicBezTo>
                        <a:pt x="1196566" y="1160462"/>
                        <a:pt x="1203706" y="1167594"/>
                        <a:pt x="1203706" y="1176153"/>
                      </a:cubicBezTo>
                      <a:cubicBezTo>
                        <a:pt x="1203706" y="1176153"/>
                        <a:pt x="1203706" y="1176153"/>
                        <a:pt x="1203706" y="1204682"/>
                      </a:cubicBezTo>
                      <a:cubicBezTo>
                        <a:pt x="1203706" y="1204682"/>
                        <a:pt x="1203706" y="1204682"/>
                        <a:pt x="1290806" y="1204682"/>
                      </a:cubicBezTo>
                      <a:cubicBezTo>
                        <a:pt x="1299374" y="1204682"/>
                        <a:pt x="1306513" y="1211814"/>
                        <a:pt x="1306513" y="1220373"/>
                      </a:cubicBezTo>
                      <a:cubicBezTo>
                        <a:pt x="1306513" y="1220373"/>
                        <a:pt x="1306513" y="1220373"/>
                        <a:pt x="1306513" y="1292409"/>
                      </a:cubicBezTo>
                      <a:cubicBezTo>
                        <a:pt x="1306513" y="1300968"/>
                        <a:pt x="1299374" y="1308100"/>
                        <a:pt x="1290806" y="1308100"/>
                      </a:cubicBezTo>
                      <a:cubicBezTo>
                        <a:pt x="1290806" y="1308100"/>
                        <a:pt x="1290806" y="1308100"/>
                        <a:pt x="15706" y="1308100"/>
                      </a:cubicBezTo>
                      <a:cubicBezTo>
                        <a:pt x="7139" y="1308100"/>
                        <a:pt x="0" y="1300968"/>
                        <a:pt x="0" y="1292409"/>
                      </a:cubicBezTo>
                      <a:cubicBezTo>
                        <a:pt x="0" y="1292409"/>
                        <a:pt x="0" y="1292409"/>
                        <a:pt x="0" y="1220373"/>
                      </a:cubicBezTo>
                      <a:cubicBezTo>
                        <a:pt x="0" y="1211814"/>
                        <a:pt x="7139" y="1204682"/>
                        <a:pt x="15706" y="1204682"/>
                      </a:cubicBezTo>
                      <a:cubicBezTo>
                        <a:pt x="15706" y="1204682"/>
                        <a:pt x="15706" y="1204682"/>
                        <a:pt x="102807" y="1204682"/>
                      </a:cubicBezTo>
                      <a:cubicBezTo>
                        <a:pt x="102807" y="1204682"/>
                        <a:pt x="102807" y="1204682"/>
                        <a:pt x="102807" y="1176153"/>
                      </a:cubicBezTo>
                      <a:cubicBezTo>
                        <a:pt x="102807" y="1167594"/>
                        <a:pt x="109947" y="1160462"/>
                        <a:pt x="118514" y="1160462"/>
                      </a:cubicBezTo>
                      <a:close/>
                      <a:moveTo>
                        <a:pt x="907952" y="933450"/>
                      </a:moveTo>
                      <a:cubicBezTo>
                        <a:pt x="907952" y="933450"/>
                        <a:pt x="907952" y="933450"/>
                        <a:pt x="996157" y="933450"/>
                      </a:cubicBezTo>
                      <a:cubicBezTo>
                        <a:pt x="996157" y="933450"/>
                        <a:pt x="996157" y="933450"/>
                        <a:pt x="1084362" y="933450"/>
                      </a:cubicBezTo>
                      <a:cubicBezTo>
                        <a:pt x="1093684" y="933450"/>
                        <a:pt x="1100138" y="940591"/>
                        <a:pt x="1100138" y="948446"/>
                      </a:cubicBezTo>
                      <a:cubicBezTo>
                        <a:pt x="1100138" y="948446"/>
                        <a:pt x="1100138" y="948446"/>
                        <a:pt x="1100138" y="1036992"/>
                      </a:cubicBezTo>
                      <a:cubicBezTo>
                        <a:pt x="1100138" y="1036992"/>
                        <a:pt x="1100138" y="1036992"/>
                        <a:pt x="1100138" y="1125538"/>
                      </a:cubicBezTo>
                      <a:cubicBezTo>
                        <a:pt x="892175" y="1125538"/>
                        <a:pt x="892175" y="1125538"/>
                        <a:pt x="892175" y="1125538"/>
                      </a:cubicBezTo>
                      <a:cubicBezTo>
                        <a:pt x="892175" y="1125538"/>
                        <a:pt x="892175" y="1125538"/>
                        <a:pt x="892175" y="1036992"/>
                      </a:cubicBezTo>
                      <a:cubicBezTo>
                        <a:pt x="892175" y="948446"/>
                        <a:pt x="892175" y="948446"/>
                        <a:pt x="892175" y="948446"/>
                      </a:cubicBezTo>
                      <a:cubicBezTo>
                        <a:pt x="892175" y="940591"/>
                        <a:pt x="898629" y="933450"/>
                        <a:pt x="907952" y="933450"/>
                      </a:cubicBezTo>
                      <a:close/>
                      <a:moveTo>
                        <a:pt x="668857" y="933450"/>
                      </a:moveTo>
                      <a:cubicBezTo>
                        <a:pt x="668857" y="933450"/>
                        <a:pt x="668857" y="933450"/>
                        <a:pt x="757238" y="933450"/>
                      </a:cubicBezTo>
                      <a:cubicBezTo>
                        <a:pt x="757238" y="933450"/>
                        <a:pt x="757238" y="933450"/>
                        <a:pt x="845620" y="933450"/>
                      </a:cubicBezTo>
                      <a:cubicBezTo>
                        <a:pt x="854886" y="933450"/>
                        <a:pt x="862013" y="940591"/>
                        <a:pt x="862013" y="948446"/>
                      </a:cubicBezTo>
                      <a:cubicBezTo>
                        <a:pt x="862013" y="948446"/>
                        <a:pt x="862013" y="948446"/>
                        <a:pt x="862013" y="1036992"/>
                      </a:cubicBezTo>
                      <a:cubicBezTo>
                        <a:pt x="862013" y="1036992"/>
                        <a:pt x="862013" y="1036992"/>
                        <a:pt x="862013" y="1125538"/>
                      </a:cubicBezTo>
                      <a:cubicBezTo>
                        <a:pt x="652463" y="1125538"/>
                        <a:pt x="652463" y="1125538"/>
                        <a:pt x="652463" y="1125538"/>
                      </a:cubicBezTo>
                      <a:cubicBezTo>
                        <a:pt x="652463" y="1125538"/>
                        <a:pt x="652463" y="1125538"/>
                        <a:pt x="652463" y="1036992"/>
                      </a:cubicBezTo>
                      <a:cubicBezTo>
                        <a:pt x="652463" y="948446"/>
                        <a:pt x="652463" y="948446"/>
                        <a:pt x="652463" y="948446"/>
                      </a:cubicBezTo>
                      <a:cubicBezTo>
                        <a:pt x="652463" y="940591"/>
                        <a:pt x="658878" y="933450"/>
                        <a:pt x="668857" y="933450"/>
                      </a:cubicBezTo>
                      <a:close/>
                      <a:moveTo>
                        <a:pt x="907952" y="692150"/>
                      </a:moveTo>
                      <a:cubicBezTo>
                        <a:pt x="907952" y="692150"/>
                        <a:pt x="907952" y="692150"/>
                        <a:pt x="996157" y="692150"/>
                      </a:cubicBezTo>
                      <a:cubicBezTo>
                        <a:pt x="996157" y="692150"/>
                        <a:pt x="996157" y="692150"/>
                        <a:pt x="1084362" y="692150"/>
                      </a:cubicBezTo>
                      <a:cubicBezTo>
                        <a:pt x="1093684" y="692150"/>
                        <a:pt x="1100138" y="699326"/>
                        <a:pt x="1100138" y="707938"/>
                      </a:cubicBezTo>
                      <a:cubicBezTo>
                        <a:pt x="1100138" y="707938"/>
                        <a:pt x="1100138" y="707938"/>
                        <a:pt x="1100138" y="796925"/>
                      </a:cubicBezTo>
                      <a:cubicBezTo>
                        <a:pt x="1100138" y="796925"/>
                        <a:pt x="1100138" y="796925"/>
                        <a:pt x="1100138" y="885912"/>
                      </a:cubicBezTo>
                      <a:cubicBezTo>
                        <a:pt x="1100138" y="894524"/>
                        <a:pt x="1093684" y="901700"/>
                        <a:pt x="1084362" y="901700"/>
                      </a:cubicBezTo>
                      <a:cubicBezTo>
                        <a:pt x="1084362" y="901700"/>
                        <a:pt x="1084362" y="901700"/>
                        <a:pt x="996157" y="901700"/>
                      </a:cubicBezTo>
                      <a:cubicBezTo>
                        <a:pt x="996157" y="901700"/>
                        <a:pt x="996157" y="901700"/>
                        <a:pt x="907952" y="901700"/>
                      </a:cubicBezTo>
                      <a:cubicBezTo>
                        <a:pt x="898629" y="901700"/>
                        <a:pt x="892175" y="894524"/>
                        <a:pt x="892175" y="885912"/>
                      </a:cubicBezTo>
                      <a:cubicBezTo>
                        <a:pt x="892175" y="885912"/>
                        <a:pt x="892175" y="885912"/>
                        <a:pt x="892175" y="796925"/>
                      </a:cubicBezTo>
                      <a:cubicBezTo>
                        <a:pt x="892175" y="796925"/>
                        <a:pt x="892175" y="796925"/>
                        <a:pt x="892175" y="707938"/>
                      </a:cubicBezTo>
                      <a:cubicBezTo>
                        <a:pt x="892175" y="699326"/>
                        <a:pt x="898629" y="692150"/>
                        <a:pt x="907952" y="692150"/>
                      </a:cubicBezTo>
                      <a:close/>
                      <a:moveTo>
                        <a:pt x="668857" y="692150"/>
                      </a:moveTo>
                      <a:cubicBezTo>
                        <a:pt x="668857" y="692150"/>
                        <a:pt x="668857" y="692150"/>
                        <a:pt x="757238" y="692150"/>
                      </a:cubicBezTo>
                      <a:cubicBezTo>
                        <a:pt x="757238" y="692150"/>
                        <a:pt x="757238" y="692150"/>
                        <a:pt x="845620" y="692150"/>
                      </a:cubicBezTo>
                      <a:cubicBezTo>
                        <a:pt x="854886" y="692150"/>
                        <a:pt x="862013" y="699326"/>
                        <a:pt x="862013" y="707938"/>
                      </a:cubicBezTo>
                      <a:cubicBezTo>
                        <a:pt x="862013" y="707938"/>
                        <a:pt x="862013" y="707938"/>
                        <a:pt x="862013" y="796925"/>
                      </a:cubicBezTo>
                      <a:cubicBezTo>
                        <a:pt x="862013" y="796925"/>
                        <a:pt x="862013" y="796925"/>
                        <a:pt x="862013" y="885912"/>
                      </a:cubicBezTo>
                      <a:cubicBezTo>
                        <a:pt x="862013" y="894524"/>
                        <a:pt x="854886" y="901700"/>
                        <a:pt x="845620" y="901700"/>
                      </a:cubicBezTo>
                      <a:cubicBezTo>
                        <a:pt x="845620" y="901700"/>
                        <a:pt x="845620" y="901700"/>
                        <a:pt x="757238" y="901700"/>
                      </a:cubicBezTo>
                      <a:cubicBezTo>
                        <a:pt x="757238" y="901700"/>
                        <a:pt x="757238" y="901700"/>
                        <a:pt x="668857" y="901700"/>
                      </a:cubicBezTo>
                      <a:cubicBezTo>
                        <a:pt x="658878" y="901700"/>
                        <a:pt x="652463" y="894524"/>
                        <a:pt x="652463" y="885912"/>
                      </a:cubicBezTo>
                      <a:cubicBezTo>
                        <a:pt x="652463" y="885912"/>
                        <a:pt x="652463" y="885912"/>
                        <a:pt x="652463" y="796925"/>
                      </a:cubicBezTo>
                      <a:cubicBezTo>
                        <a:pt x="652463" y="796925"/>
                        <a:pt x="652463" y="796925"/>
                        <a:pt x="652463" y="707938"/>
                      </a:cubicBezTo>
                      <a:cubicBezTo>
                        <a:pt x="652463" y="699326"/>
                        <a:pt x="658878" y="692150"/>
                        <a:pt x="668857" y="692150"/>
                      </a:cubicBezTo>
                      <a:close/>
                      <a:moveTo>
                        <a:pt x="996157" y="452437"/>
                      </a:moveTo>
                      <a:cubicBezTo>
                        <a:pt x="1053133" y="452437"/>
                        <a:pt x="1100138" y="476119"/>
                        <a:pt x="1100138" y="505542"/>
                      </a:cubicBezTo>
                      <a:cubicBezTo>
                        <a:pt x="1100138" y="507695"/>
                        <a:pt x="1100138" y="509130"/>
                        <a:pt x="1099426" y="510566"/>
                      </a:cubicBezTo>
                      <a:cubicBezTo>
                        <a:pt x="1099426" y="510566"/>
                        <a:pt x="1099426" y="510566"/>
                        <a:pt x="1099426" y="511283"/>
                      </a:cubicBezTo>
                      <a:cubicBezTo>
                        <a:pt x="1099426" y="520613"/>
                        <a:pt x="1099426" y="534248"/>
                        <a:pt x="1099426" y="557930"/>
                      </a:cubicBezTo>
                      <a:cubicBezTo>
                        <a:pt x="1099426" y="557930"/>
                        <a:pt x="1099426" y="557930"/>
                        <a:pt x="1099426" y="646199"/>
                      </a:cubicBezTo>
                      <a:cubicBezTo>
                        <a:pt x="1099426" y="655528"/>
                        <a:pt x="1093016" y="661987"/>
                        <a:pt x="1083758" y="661987"/>
                      </a:cubicBezTo>
                      <a:cubicBezTo>
                        <a:pt x="1083758" y="661987"/>
                        <a:pt x="1083758" y="661987"/>
                        <a:pt x="996157" y="661987"/>
                      </a:cubicBezTo>
                      <a:cubicBezTo>
                        <a:pt x="996157" y="661987"/>
                        <a:pt x="996157" y="661987"/>
                        <a:pt x="908556" y="661987"/>
                      </a:cubicBezTo>
                      <a:cubicBezTo>
                        <a:pt x="899297" y="661987"/>
                        <a:pt x="892887" y="655528"/>
                        <a:pt x="892887" y="646199"/>
                      </a:cubicBezTo>
                      <a:cubicBezTo>
                        <a:pt x="892887" y="646199"/>
                        <a:pt x="892887" y="646199"/>
                        <a:pt x="892887" y="557930"/>
                      </a:cubicBezTo>
                      <a:cubicBezTo>
                        <a:pt x="892887" y="557930"/>
                        <a:pt x="892887" y="557930"/>
                        <a:pt x="892887" y="511283"/>
                      </a:cubicBezTo>
                      <a:cubicBezTo>
                        <a:pt x="892887" y="511283"/>
                        <a:pt x="892887" y="511283"/>
                        <a:pt x="892887" y="510566"/>
                      </a:cubicBezTo>
                      <a:cubicBezTo>
                        <a:pt x="892887" y="509130"/>
                        <a:pt x="892175" y="507695"/>
                        <a:pt x="892175" y="505542"/>
                      </a:cubicBezTo>
                      <a:cubicBezTo>
                        <a:pt x="892175" y="476119"/>
                        <a:pt x="939181" y="452437"/>
                        <a:pt x="996157" y="452437"/>
                      </a:cubicBezTo>
                      <a:close/>
                      <a:moveTo>
                        <a:pt x="757951" y="452437"/>
                      </a:moveTo>
                      <a:cubicBezTo>
                        <a:pt x="815684" y="452437"/>
                        <a:pt x="862013" y="476119"/>
                        <a:pt x="862013" y="505542"/>
                      </a:cubicBezTo>
                      <a:cubicBezTo>
                        <a:pt x="862013" y="507695"/>
                        <a:pt x="862013" y="509130"/>
                        <a:pt x="862013" y="510566"/>
                      </a:cubicBezTo>
                      <a:cubicBezTo>
                        <a:pt x="862013" y="510566"/>
                        <a:pt x="862013" y="510566"/>
                        <a:pt x="862013" y="511283"/>
                      </a:cubicBezTo>
                      <a:cubicBezTo>
                        <a:pt x="862013" y="520613"/>
                        <a:pt x="862013" y="534248"/>
                        <a:pt x="862013" y="557930"/>
                      </a:cubicBezTo>
                      <a:cubicBezTo>
                        <a:pt x="862013" y="557930"/>
                        <a:pt x="862013" y="557930"/>
                        <a:pt x="862013" y="646199"/>
                      </a:cubicBezTo>
                      <a:cubicBezTo>
                        <a:pt x="862013" y="655528"/>
                        <a:pt x="854886" y="661987"/>
                        <a:pt x="845620" y="661987"/>
                      </a:cubicBezTo>
                      <a:cubicBezTo>
                        <a:pt x="845620" y="661987"/>
                        <a:pt x="845620" y="661987"/>
                        <a:pt x="757238" y="661987"/>
                      </a:cubicBezTo>
                      <a:cubicBezTo>
                        <a:pt x="757238" y="661987"/>
                        <a:pt x="757238" y="661987"/>
                        <a:pt x="668857" y="661987"/>
                      </a:cubicBezTo>
                      <a:cubicBezTo>
                        <a:pt x="658878" y="661987"/>
                        <a:pt x="652463" y="655528"/>
                        <a:pt x="652463" y="646199"/>
                      </a:cubicBezTo>
                      <a:cubicBezTo>
                        <a:pt x="652463" y="646199"/>
                        <a:pt x="652463" y="646199"/>
                        <a:pt x="652463" y="557930"/>
                      </a:cubicBezTo>
                      <a:cubicBezTo>
                        <a:pt x="652463" y="557930"/>
                        <a:pt x="652463" y="557930"/>
                        <a:pt x="652463" y="511283"/>
                      </a:cubicBezTo>
                      <a:cubicBezTo>
                        <a:pt x="652463" y="511283"/>
                        <a:pt x="652463" y="511283"/>
                        <a:pt x="652463" y="510566"/>
                      </a:cubicBezTo>
                      <a:cubicBezTo>
                        <a:pt x="652463" y="509130"/>
                        <a:pt x="652463" y="507695"/>
                        <a:pt x="652463" y="505542"/>
                      </a:cubicBezTo>
                      <a:cubicBezTo>
                        <a:pt x="652463" y="476119"/>
                        <a:pt x="698792" y="452437"/>
                        <a:pt x="757951" y="452437"/>
                      </a:cubicBezTo>
                      <a:close/>
                      <a:moveTo>
                        <a:pt x="145762" y="173037"/>
                      </a:moveTo>
                      <a:cubicBezTo>
                        <a:pt x="145041" y="180184"/>
                        <a:pt x="144319" y="188045"/>
                        <a:pt x="142876" y="195906"/>
                      </a:cubicBezTo>
                      <a:cubicBezTo>
                        <a:pt x="142154" y="205197"/>
                        <a:pt x="144319" y="213059"/>
                        <a:pt x="145041" y="216632"/>
                      </a:cubicBezTo>
                      <a:cubicBezTo>
                        <a:pt x="150813" y="243075"/>
                        <a:pt x="194830" y="240931"/>
                        <a:pt x="217200" y="275949"/>
                      </a:cubicBezTo>
                      <a:cubicBezTo>
                        <a:pt x="230188" y="295245"/>
                        <a:pt x="229467" y="316685"/>
                        <a:pt x="228745" y="320259"/>
                      </a:cubicBezTo>
                      <a:cubicBezTo>
                        <a:pt x="227302" y="336696"/>
                        <a:pt x="220808" y="348845"/>
                        <a:pt x="216478" y="355277"/>
                      </a:cubicBezTo>
                      <a:cubicBezTo>
                        <a:pt x="216478" y="355277"/>
                        <a:pt x="216478" y="355277"/>
                        <a:pt x="209262" y="366712"/>
                      </a:cubicBezTo>
                      <a:cubicBezTo>
                        <a:pt x="209262" y="359565"/>
                        <a:pt x="209262" y="351704"/>
                        <a:pt x="210705" y="344557"/>
                      </a:cubicBezTo>
                      <a:cubicBezTo>
                        <a:pt x="210705" y="333123"/>
                        <a:pt x="207097" y="325976"/>
                        <a:pt x="206376" y="323117"/>
                      </a:cubicBezTo>
                      <a:cubicBezTo>
                        <a:pt x="197717" y="300248"/>
                        <a:pt x="166688" y="303821"/>
                        <a:pt x="142154" y="276664"/>
                      </a:cubicBezTo>
                      <a:cubicBezTo>
                        <a:pt x="136381" y="271661"/>
                        <a:pt x="122671" y="256653"/>
                        <a:pt x="121228" y="233784"/>
                      </a:cubicBezTo>
                      <a:cubicBezTo>
                        <a:pt x="119063" y="209485"/>
                        <a:pt x="132773" y="188045"/>
                        <a:pt x="135660" y="184472"/>
                      </a:cubicBezTo>
                      <a:cubicBezTo>
                        <a:pt x="138546" y="179469"/>
                        <a:pt x="142876" y="175181"/>
                        <a:pt x="145762" y="173037"/>
                      </a:cubicBezTo>
                      <a:close/>
                      <a:moveTo>
                        <a:pt x="408906" y="0"/>
                      </a:moveTo>
                      <a:cubicBezTo>
                        <a:pt x="408195" y="7173"/>
                        <a:pt x="407483" y="15063"/>
                        <a:pt x="406061" y="22954"/>
                      </a:cubicBezTo>
                      <a:cubicBezTo>
                        <a:pt x="405349" y="32279"/>
                        <a:pt x="407483" y="40170"/>
                        <a:pt x="408195" y="43756"/>
                      </a:cubicBezTo>
                      <a:cubicBezTo>
                        <a:pt x="413885" y="70297"/>
                        <a:pt x="457273" y="68145"/>
                        <a:pt x="479323" y="102576"/>
                      </a:cubicBezTo>
                      <a:cubicBezTo>
                        <a:pt x="492126" y="121943"/>
                        <a:pt x="491415" y="143463"/>
                        <a:pt x="490704" y="147049"/>
                      </a:cubicBezTo>
                      <a:cubicBezTo>
                        <a:pt x="489281" y="163548"/>
                        <a:pt x="482880" y="175742"/>
                        <a:pt x="478612" y="182198"/>
                      </a:cubicBezTo>
                      <a:cubicBezTo>
                        <a:pt x="478612" y="182198"/>
                        <a:pt x="478612" y="182198"/>
                        <a:pt x="471499" y="193675"/>
                      </a:cubicBezTo>
                      <a:cubicBezTo>
                        <a:pt x="471499" y="186502"/>
                        <a:pt x="471499" y="178612"/>
                        <a:pt x="472922" y="171438"/>
                      </a:cubicBezTo>
                      <a:cubicBezTo>
                        <a:pt x="472922" y="159961"/>
                        <a:pt x="469365" y="152788"/>
                        <a:pt x="468654" y="149919"/>
                      </a:cubicBezTo>
                      <a:cubicBezTo>
                        <a:pt x="460118" y="126965"/>
                        <a:pt x="429533" y="130551"/>
                        <a:pt x="405349" y="103293"/>
                      </a:cubicBezTo>
                      <a:cubicBezTo>
                        <a:pt x="399659" y="98272"/>
                        <a:pt x="386145" y="83926"/>
                        <a:pt x="384722" y="60972"/>
                      </a:cubicBezTo>
                      <a:cubicBezTo>
                        <a:pt x="382588" y="36583"/>
                        <a:pt x="396103" y="15063"/>
                        <a:pt x="398948" y="11477"/>
                      </a:cubicBezTo>
                      <a:cubicBezTo>
                        <a:pt x="401793" y="6456"/>
                        <a:pt x="406061" y="2152"/>
                        <a:pt x="408906" y="0"/>
                      </a:cubicBezTo>
                      <a:close/>
                    </a:path>
                  </a:pathLst>
                </a:custGeom>
                <a:solidFill>
                  <a:srgbClr val="009670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en-US"/>
                </a:p>
              </p:txBody>
            </p:sp>
          </p:grpSp>
        </p:grpSp>
        <p:sp>
          <p:nvSpPr>
            <p:cNvPr id="67" name="Rectangle 66">
              <a:extLst>
                <a:ext uri="{FF2B5EF4-FFF2-40B4-BE49-F238E27FC236}">
                  <a16:creationId xmlns:a16="http://schemas.microsoft.com/office/drawing/2014/main" id="{012E151C-9283-C7B5-3A96-B4877CA25F47}"/>
                </a:ext>
              </a:extLst>
            </p:cNvPr>
            <p:cNvSpPr/>
            <p:nvPr/>
          </p:nvSpPr>
          <p:spPr>
            <a:xfrm>
              <a:off x="321535" y="4733049"/>
              <a:ext cx="264869" cy="387795"/>
            </a:xfrm>
            <a:prstGeom prst="rect">
              <a:avLst/>
            </a:prstGeom>
            <a:solidFill>
              <a:schemeClr val="bg1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1240B29-F687-4F45-9708-019B960494DF}">
                <a14:hiddenLine xmlns:a14="http://schemas.microsoft.com/office/drawing/2010/main" w="9525" cap="rnd" cmpd="sng" algn="ctr">
                  <a:solidFill>
                    <a:schemeClr val="tx2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FFFFFF"/>
                </a:solidFill>
              </a:endParaRPr>
            </a:p>
          </p:txBody>
        </p:sp>
        <p:sp>
          <p:nvSpPr>
            <p:cNvPr id="68" name="Rectangle 67">
              <a:extLst>
                <a:ext uri="{FF2B5EF4-FFF2-40B4-BE49-F238E27FC236}">
                  <a16:creationId xmlns:a16="http://schemas.microsoft.com/office/drawing/2014/main" id="{102F7E80-5A4E-BFEA-9540-7D40B61AB013}"/>
                </a:ext>
              </a:extLst>
            </p:cNvPr>
            <p:cNvSpPr/>
            <p:nvPr/>
          </p:nvSpPr>
          <p:spPr>
            <a:xfrm>
              <a:off x="540383" y="4561374"/>
              <a:ext cx="264869" cy="387795"/>
            </a:xfrm>
            <a:prstGeom prst="rect">
              <a:avLst/>
            </a:prstGeom>
            <a:solidFill>
              <a:schemeClr val="bg1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1240B29-F687-4F45-9708-019B960494DF}">
                <a14:hiddenLine xmlns:a14="http://schemas.microsoft.com/office/drawing/2010/main" w="9525" cap="rnd" cmpd="sng" algn="ctr">
                  <a:solidFill>
                    <a:schemeClr val="tx2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FFFFFF"/>
                </a:solidFill>
              </a:endParaRPr>
            </a:p>
          </p:txBody>
        </p:sp>
      </p:grpSp>
      <p:grpSp>
        <p:nvGrpSpPr>
          <p:cNvPr id="60" name="Group 59">
            <a:extLst>
              <a:ext uri="{FF2B5EF4-FFF2-40B4-BE49-F238E27FC236}">
                <a16:creationId xmlns:a16="http://schemas.microsoft.com/office/drawing/2014/main" id="{A1649635-4489-E81A-D51F-E3DAA858D537}"/>
              </a:ext>
            </a:extLst>
          </p:cNvPr>
          <p:cNvGrpSpPr/>
          <p:nvPr/>
        </p:nvGrpSpPr>
        <p:grpSpPr>
          <a:xfrm>
            <a:off x="1654140" y="2624536"/>
            <a:ext cx="2247512" cy="1864737"/>
            <a:chOff x="338418" y="4260896"/>
            <a:chExt cx="1906625" cy="1649291"/>
          </a:xfrm>
        </p:grpSpPr>
        <p:grpSp>
          <p:nvGrpSpPr>
            <p:cNvPr id="59" name="Group 58">
              <a:extLst>
                <a:ext uri="{FF2B5EF4-FFF2-40B4-BE49-F238E27FC236}">
                  <a16:creationId xmlns:a16="http://schemas.microsoft.com/office/drawing/2014/main" id="{C0B06EA9-08E6-25AE-BD59-57DF808756A4}"/>
                </a:ext>
              </a:extLst>
            </p:cNvPr>
            <p:cNvGrpSpPr/>
            <p:nvPr/>
          </p:nvGrpSpPr>
          <p:grpSpPr>
            <a:xfrm>
              <a:off x="338418" y="4260896"/>
              <a:ext cx="1906625" cy="1649291"/>
              <a:chOff x="416415" y="4372864"/>
              <a:chExt cx="1906625" cy="1649291"/>
            </a:xfrm>
          </p:grpSpPr>
          <p:grpSp>
            <p:nvGrpSpPr>
              <p:cNvPr id="49" name="bcgIcons_Factory ">
                <a:extLst>
                  <a:ext uri="{FF2B5EF4-FFF2-40B4-BE49-F238E27FC236}">
                    <a16:creationId xmlns:a16="http://schemas.microsoft.com/office/drawing/2014/main" id="{323E4242-3A2D-5558-224A-5FE46C4DB185}"/>
                  </a:ext>
                </a:extLst>
              </p:cNvPr>
              <p:cNvGrpSpPr>
                <a:grpSpLocks noChangeAspect="1"/>
              </p:cNvGrpSpPr>
              <p:nvPr/>
            </p:nvGrpSpPr>
            <p:grpSpPr>
              <a:xfrm>
                <a:off x="416415" y="4372864"/>
                <a:ext cx="1644396" cy="1645920"/>
                <a:chOff x="5273799" y="2606040"/>
                <a:chExt cx="1644396" cy="1645920"/>
              </a:xfrm>
            </p:grpSpPr>
            <p:sp>
              <p:nvSpPr>
                <p:cNvPr id="50" name="AutoShape 13">
                  <a:extLst>
                    <a:ext uri="{FF2B5EF4-FFF2-40B4-BE49-F238E27FC236}">
                      <a16:creationId xmlns:a16="http://schemas.microsoft.com/office/drawing/2014/main" id="{2516C563-787E-8327-7032-660F67772D63}"/>
                    </a:ext>
                  </a:extLst>
                </p:cNvPr>
                <p:cNvSpPr>
                  <a:spLocks noChangeAspect="1" noChangeArrowheads="1" noTextEdit="1"/>
                </p:cNvSpPr>
                <p:nvPr/>
              </p:nvSpPr>
              <p:spPr bwMode="auto">
                <a:xfrm>
                  <a:off x="5273799" y="2606040"/>
                  <a:ext cx="1644396" cy="164592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grpSp>
              <p:nvGrpSpPr>
                <p:cNvPr id="51" name="Group 50">
                  <a:extLst>
                    <a:ext uri="{FF2B5EF4-FFF2-40B4-BE49-F238E27FC236}">
                      <a16:creationId xmlns:a16="http://schemas.microsoft.com/office/drawing/2014/main" id="{3541FD1C-7FFA-BB53-9F84-23E1DEC2B97C}"/>
                    </a:ext>
                  </a:extLst>
                </p:cNvPr>
                <p:cNvGrpSpPr/>
                <p:nvPr/>
              </p:nvGrpSpPr>
              <p:grpSpPr>
                <a:xfrm>
                  <a:off x="5407149" y="2775204"/>
                  <a:ext cx="1379220" cy="1306068"/>
                  <a:chOff x="5407149" y="2775204"/>
                  <a:chExt cx="1379220" cy="1306068"/>
                </a:xfrm>
              </p:grpSpPr>
              <p:sp>
                <p:nvSpPr>
                  <p:cNvPr id="52" name="Freeform 15">
                    <a:extLst>
                      <a:ext uri="{FF2B5EF4-FFF2-40B4-BE49-F238E27FC236}">
                        <a16:creationId xmlns:a16="http://schemas.microsoft.com/office/drawing/2014/main" id="{B2B101F3-2F96-1B5A-50A3-66E596C9600B}"/>
                      </a:ext>
                    </a:extLst>
                  </p:cNvPr>
                  <p:cNvSpPr>
                    <a:spLocks noEditPoints="1"/>
                  </p:cNvSpPr>
                  <p:nvPr/>
                </p:nvSpPr>
                <p:spPr bwMode="auto">
                  <a:xfrm>
                    <a:off x="5602983" y="3357372"/>
                    <a:ext cx="987552" cy="308229"/>
                  </a:xfrm>
                  <a:custGeom>
                    <a:avLst/>
                    <a:gdLst>
                      <a:gd name="T0" fmla="*/ 10 w 1384"/>
                      <a:gd name="T1" fmla="*/ 183 h 431"/>
                      <a:gd name="T2" fmla="*/ 0 w 1384"/>
                      <a:gd name="T3" fmla="*/ 10 h 431"/>
                      <a:gd name="T4" fmla="*/ 292 w 1384"/>
                      <a:gd name="T5" fmla="*/ 0 h 431"/>
                      <a:gd name="T6" fmla="*/ 302 w 1384"/>
                      <a:gd name="T7" fmla="*/ 173 h 431"/>
                      <a:gd name="T8" fmla="*/ 662 w 1384"/>
                      <a:gd name="T9" fmla="*/ 173 h 431"/>
                      <a:gd name="T10" fmla="*/ 652 w 1384"/>
                      <a:gd name="T11" fmla="*/ 0 h 431"/>
                      <a:gd name="T12" fmla="*/ 361 w 1384"/>
                      <a:gd name="T13" fmla="*/ 10 h 431"/>
                      <a:gd name="T14" fmla="*/ 371 w 1384"/>
                      <a:gd name="T15" fmla="*/ 183 h 431"/>
                      <a:gd name="T16" fmla="*/ 662 w 1384"/>
                      <a:gd name="T17" fmla="*/ 173 h 431"/>
                      <a:gd name="T18" fmla="*/ 1023 w 1384"/>
                      <a:gd name="T19" fmla="*/ 10 h 431"/>
                      <a:gd name="T20" fmla="*/ 732 w 1384"/>
                      <a:gd name="T21" fmla="*/ 0 h 431"/>
                      <a:gd name="T22" fmla="*/ 722 w 1384"/>
                      <a:gd name="T23" fmla="*/ 173 h 431"/>
                      <a:gd name="T24" fmla="*/ 1013 w 1384"/>
                      <a:gd name="T25" fmla="*/ 183 h 431"/>
                      <a:gd name="T26" fmla="*/ 1384 w 1384"/>
                      <a:gd name="T27" fmla="*/ 173 h 431"/>
                      <a:gd name="T28" fmla="*/ 1374 w 1384"/>
                      <a:gd name="T29" fmla="*/ 0 h 431"/>
                      <a:gd name="T30" fmla="*/ 1082 w 1384"/>
                      <a:gd name="T31" fmla="*/ 10 h 431"/>
                      <a:gd name="T32" fmla="*/ 1092 w 1384"/>
                      <a:gd name="T33" fmla="*/ 183 h 431"/>
                      <a:gd name="T34" fmla="*/ 1384 w 1384"/>
                      <a:gd name="T35" fmla="*/ 173 h 431"/>
                      <a:gd name="T36" fmla="*/ 302 w 1384"/>
                      <a:gd name="T37" fmla="*/ 258 h 431"/>
                      <a:gd name="T38" fmla="*/ 10 w 1384"/>
                      <a:gd name="T39" fmla="*/ 248 h 431"/>
                      <a:gd name="T40" fmla="*/ 0 w 1384"/>
                      <a:gd name="T41" fmla="*/ 421 h 431"/>
                      <a:gd name="T42" fmla="*/ 292 w 1384"/>
                      <a:gd name="T43" fmla="*/ 431 h 431"/>
                      <a:gd name="T44" fmla="*/ 662 w 1384"/>
                      <a:gd name="T45" fmla="*/ 421 h 431"/>
                      <a:gd name="T46" fmla="*/ 652 w 1384"/>
                      <a:gd name="T47" fmla="*/ 248 h 431"/>
                      <a:gd name="T48" fmla="*/ 361 w 1384"/>
                      <a:gd name="T49" fmla="*/ 258 h 431"/>
                      <a:gd name="T50" fmla="*/ 371 w 1384"/>
                      <a:gd name="T51" fmla="*/ 431 h 431"/>
                      <a:gd name="T52" fmla="*/ 662 w 1384"/>
                      <a:gd name="T53" fmla="*/ 421 h 431"/>
                      <a:gd name="T54" fmla="*/ 1023 w 1384"/>
                      <a:gd name="T55" fmla="*/ 258 h 431"/>
                      <a:gd name="T56" fmla="*/ 732 w 1384"/>
                      <a:gd name="T57" fmla="*/ 248 h 431"/>
                      <a:gd name="T58" fmla="*/ 722 w 1384"/>
                      <a:gd name="T59" fmla="*/ 421 h 431"/>
                      <a:gd name="T60" fmla="*/ 1013 w 1384"/>
                      <a:gd name="T61" fmla="*/ 431 h 431"/>
                      <a:gd name="T62" fmla="*/ 1384 w 1384"/>
                      <a:gd name="T63" fmla="*/ 421 h 431"/>
                      <a:gd name="T64" fmla="*/ 1374 w 1384"/>
                      <a:gd name="T65" fmla="*/ 248 h 431"/>
                      <a:gd name="T66" fmla="*/ 1082 w 1384"/>
                      <a:gd name="T67" fmla="*/ 258 h 431"/>
                      <a:gd name="T68" fmla="*/ 1092 w 1384"/>
                      <a:gd name="T69" fmla="*/ 431 h 431"/>
                      <a:gd name="T70" fmla="*/ 1384 w 1384"/>
                      <a:gd name="T71" fmla="*/ 421 h 431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</a:cxnLst>
                    <a:rect l="0" t="0" r="r" b="b"/>
                    <a:pathLst>
                      <a:path w="1384" h="431">
                        <a:moveTo>
                          <a:pt x="292" y="183"/>
                        </a:moveTo>
                        <a:cubicBezTo>
                          <a:pt x="10" y="183"/>
                          <a:pt x="10" y="183"/>
                          <a:pt x="10" y="183"/>
                        </a:cubicBezTo>
                        <a:cubicBezTo>
                          <a:pt x="4" y="183"/>
                          <a:pt x="0" y="179"/>
                          <a:pt x="0" y="173"/>
                        </a:cubicBezTo>
                        <a:cubicBezTo>
                          <a:pt x="0" y="10"/>
                          <a:pt x="0" y="10"/>
                          <a:pt x="0" y="10"/>
                        </a:cubicBezTo>
                        <a:cubicBezTo>
                          <a:pt x="0" y="5"/>
                          <a:pt x="4" y="0"/>
                          <a:pt x="10" y="0"/>
                        </a:cubicBezTo>
                        <a:cubicBezTo>
                          <a:pt x="292" y="0"/>
                          <a:pt x="292" y="0"/>
                          <a:pt x="292" y="0"/>
                        </a:cubicBezTo>
                        <a:cubicBezTo>
                          <a:pt x="297" y="0"/>
                          <a:pt x="302" y="5"/>
                          <a:pt x="302" y="10"/>
                        </a:cubicBezTo>
                        <a:cubicBezTo>
                          <a:pt x="302" y="173"/>
                          <a:pt x="302" y="173"/>
                          <a:pt x="302" y="173"/>
                        </a:cubicBezTo>
                        <a:cubicBezTo>
                          <a:pt x="302" y="179"/>
                          <a:pt x="297" y="183"/>
                          <a:pt x="292" y="183"/>
                        </a:cubicBezTo>
                        <a:close/>
                        <a:moveTo>
                          <a:pt x="662" y="173"/>
                        </a:moveTo>
                        <a:cubicBezTo>
                          <a:pt x="662" y="10"/>
                          <a:pt x="662" y="10"/>
                          <a:pt x="662" y="10"/>
                        </a:cubicBezTo>
                        <a:cubicBezTo>
                          <a:pt x="662" y="5"/>
                          <a:pt x="658" y="0"/>
                          <a:pt x="652" y="0"/>
                        </a:cubicBezTo>
                        <a:cubicBezTo>
                          <a:pt x="371" y="0"/>
                          <a:pt x="371" y="0"/>
                          <a:pt x="371" y="0"/>
                        </a:cubicBezTo>
                        <a:cubicBezTo>
                          <a:pt x="365" y="0"/>
                          <a:pt x="361" y="5"/>
                          <a:pt x="361" y="10"/>
                        </a:cubicBezTo>
                        <a:cubicBezTo>
                          <a:pt x="361" y="173"/>
                          <a:pt x="361" y="173"/>
                          <a:pt x="361" y="173"/>
                        </a:cubicBezTo>
                        <a:cubicBezTo>
                          <a:pt x="361" y="179"/>
                          <a:pt x="365" y="183"/>
                          <a:pt x="371" y="183"/>
                        </a:cubicBezTo>
                        <a:cubicBezTo>
                          <a:pt x="652" y="183"/>
                          <a:pt x="652" y="183"/>
                          <a:pt x="652" y="183"/>
                        </a:cubicBezTo>
                        <a:cubicBezTo>
                          <a:pt x="658" y="183"/>
                          <a:pt x="662" y="179"/>
                          <a:pt x="662" y="173"/>
                        </a:cubicBezTo>
                        <a:close/>
                        <a:moveTo>
                          <a:pt x="1023" y="173"/>
                        </a:moveTo>
                        <a:cubicBezTo>
                          <a:pt x="1023" y="10"/>
                          <a:pt x="1023" y="10"/>
                          <a:pt x="1023" y="10"/>
                        </a:cubicBezTo>
                        <a:cubicBezTo>
                          <a:pt x="1023" y="5"/>
                          <a:pt x="1019" y="0"/>
                          <a:pt x="1013" y="0"/>
                        </a:cubicBezTo>
                        <a:cubicBezTo>
                          <a:pt x="732" y="0"/>
                          <a:pt x="732" y="0"/>
                          <a:pt x="732" y="0"/>
                        </a:cubicBezTo>
                        <a:cubicBezTo>
                          <a:pt x="726" y="0"/>
                          <a:pt x="722" y="5"/>
                          <a:pt x="722" y="10"/>
                        </a:cubicBezTo>
                        <a:cubicBezTo>
                          <a:pt x="722" y="173"/>
                          <a:pt x="722" y="173"/>
                          <a:pt x="722" y="173"/>
                        </a:cubicBezTo>
                        <a:cubicBezTo>
                          <a:pt x="722" y="179"/>
                          <a:pt x="726" y="183"/>
                          <a:pt x="732" y="183"/>
                        </a:cubicBezTo>
                        <a:cubicBezTo>
                          <a:pt x="1013" y="183"/>
                          <a:pt x="1013" y="183"/>
                          <a:pt x="1013" y="183"/>
                        </a:cubicBezTo>
                        <a:cubicBezTo>
                          <a:pt x="1019" y="183"/>
                          <a:pt x="1023" y="179"/>
                          <a:pt x="1023" y="173"/>
                        </a:cubicBezTo>
                        <a:close/>
                        <a:moveTo>
                          <a:pt x="1384" y="173"/>
                        </a:moveTo>
                        <a:cubicBezTo>
                          <a:pt x="1384" y="10"/>
                          <a:pt x="1384" y="10"/>
                          <a:pt x="1384" y="10"/>
                        </a:cubicBezTo>
                        <a:cubicBezTo>
                          <a:pt x="1384" y="5"/>
                          <a:pt x="1380" y="0"/>
                          <a:pt x="1374" y="0"/>
                        </a:cubicBezTo>
                        <a:cubicBezTo>
                          <a:pt x="1092" y="0"/>
                          <a:pt x="1092" y="0"/>
                          <a:pt x="1092" y="0"/>
                        </a:cubicBezTo>
                        <a:cubicBezTo>
                          <a:pt x="1087" y="0"/>
                          <a:pt x="1082" y="5"/>
                          <a:pt x="1082" y="10"/>
                        </a:cubicBezTo>
                        <a:cubicBezTo>
                          <a:pt x="1082" y="173"/>
                          <a:pt x="1082" y="173"/>
                          <a:pt x="1082" y="173"/>
                        </a:cubicBezTo>
                        <a:cubicBezTo>
                          <a:pt x="1082" y="179"/>
                          <a:pt x="1087" y="183"/>
                          <a:pt x="1092" y="183"/>
                        </a:cubicBezTo>
                        <a:cubicBezTo>
                          <a:pt x="1374" y="183"/>
                          <a:pt x="1374" y="183"/>
                          <a:pt x="1374" y="183"/>
                        </a:cubicBezTo>
                        <a:cubicBezTo>
                          <a:pt x="1380" y="183"/>
                          <a:pt x="1384" y="179"/>
                          <a:pt x="1384" y="173"/>
                        </a:cubicBezTo>
                        <a:close/>
                        <a:moveTo>
                          <a:pt x="302" y="421"/>
                        </a:moveTo>
                        <a:cubicBezTo>
                          <a:pt x="302" y="258"/>
                          <a:pt x="302" y="258"/>
                          <a:pt x="302" y="258"/>
                        </a:cubicBezTo>
                        <a:cubicBezTo>
                          <a:pt x="302" y="253"/>
                          <a:pt x="297" y="248"/>
                          <a:pt x="292" y="248"/>
                        </a:cubicBezTo>
                        <a:cubicBezTo>
                          <a:pt x="10" y="248"/>
                          <a:pt x="10" y="248"/>
                          <a:pt x="10" y="248"/>
                        </a:cubicBezTo>
                        <a:cubicBezTo>
                          <a:pt x="4" y="248"/>
                          <a:pt x="0" y="253"/>
                          <a:pt x="0" y="258"/>
                        </a:cubicBezTo>
                        <a:cubicBezTo>
                          <a:pt x="0" y="421"/>
                          <a:pt x="0" y="421"/>
                          <a:pt x="0" y="421"/>
                        </a:cubicBezTo>
                        <a:cubicBezTo>
                          <a:pt x="0" y="427"/>
                          <a:pt x="4" y="431"/>
                          <a:pt x="10" y="431"/>
                        </a:cubicBezTo>
                        <a:cubicBezTo>
                          <a:pt x="292" y="431"/>
                          <a:pt x="292" y="431"/>
                          <a:pt x="292" y="431"/>
                        </a:cubicBezTo>
                        <a:cubicBezTo>
                          <a:pt x="297" y="431"/>
                          <a:pt x="302" y="427"/>
                          <a:pt x="302" y="421"/>
                        </a:cubicBezTo>
                        <a:close/>
                        <a:moveTo>
                          <a:pt x="662" y="421"/>
                        </a:moveTo>
                        <a:cubicBezTo>
                          <a:pt x="662" y="258"/>
                          <a:pt x="662" y="258"/>
                          <a:pt x="662" y="258"/>
                        </a:cubicBezTo>
                        <a:cubicBezTo>
                          <a:pt x="662" y="253"/>
                          <a:pt x="658" y="248"/>
                          <a:pt x="652" y="248"/>
                        </a:cubicBezTo>
                        <a:cubicBezTo>
                          <a:pt x="371" y="248"/>
                          <a:pt x="371" y="248"/>
                          <a:pt x="371" y="248"/>
                        </a:cubicBezTo>
                        <a:cubicBezTo>
                          <a:pt x="365" y="248"/>
                          <a:pt x="361" y="253"/>
                          <a:pt x="361" y="258"/>
                        </a:cubicBezTo>
                        <a:cubicBezTo>
                          <a:pt x="361" y="421"/>
                          <a:pt x="361" y="421"/>
                          <a:pt x="361" y="421"/>
                        </a:cubicBezTo>
                        <a:cubicBezTo>
                          <a:pt x="361" y="427"/>
                          <a:pt x="365" y="431"/>
                          <a:pt x="371" y="431"/>
                        </a:cubicBezTo>
                        <a:cubicBezTo>
                          <a:pt x="652" y="431"/>
                          <a:pt x="652" y="431"/>
                          <a:pt x="652" y="431"/>
                        </a:cubicBezTo>
                        <a:cubicBezTo>
                          <a:pt x="658" y="431"/>
                          <a:pt x="662" y="427"/>
                          <a:pt x="662" y="421"/>
                        </a:cubicBezTo>
                        <a:close/>
                        <a:moveTo>
                          <a:pt x="1023" y="421"/>
                        </a:moveTo>
                        <a:cubicBezTo>
                          <a:pt x="1023" y="258"/>
                          <a:pt x="1023" y="258"/>
                          <a:pt x="1023" y="258"/>
                        </a:cubicBezTo>
                        <a:cubicBezTo>
                          <a:pt x="1023" y="253"/>
                          <a:pt x="1019" y="248"/>
                          <a:pt x="1013" y="248"/>
                        </a:cubicBezTo>
                        <a:cubicBezTo>
                          <a:pt x="732" y="248"/>
                          <a:pt x="732" y="248"/>
                          <a:pt x="732" y="248"/>
                        </a:cubicBezTo>
                        <a:cubicBezTo>
                          <a:pt x="726" y="248"/>
                          <a:pt x="722" y="253"/>
                          <a:pt x="722" y="258"/>
                        </a:cubicBezTo>
                        <a:cubicBezTo>
                          <a:pt x="722" y="421"/>
                          <a:pt x="722" y="421"/>
                          <a:pt x="722" y="421"/>
                        </a:cubicBezTo>
                        <a:cubicBezTo>
                          <a:pt x="722" y="427"/>
                          <a:pt x="726" y="431"/>
                          <a:pt x="732" y="431"/>
                        </a:cubicBezTo>
                        <a:cubicBezTo>
                          <a:pt x="1013" y="431"/>
                          <a:pt x="1013" y="431"/>
                          <a:pt x="1013" y="431"/>
                        </a:cubicBezTo>
                        <a:cubicBezTo>
                          <a:pt x="1019" y="431"/>
                          <a:pt x="1023" y="427"/>
                          <a:pt x="1023" y="421"/>
                        </a:cubicBezTo>
                        <a:close/>
                        <a:moveTo>
                          <a:pt x="1384" y="421"/>
                        </a:moveTo>
                        <a:cubicBezTo>
                          <a:pt x="1384" y="258"/>
                          <a:pt x="1384" y="258"/>
                          <a:pt x="1384" y="258"/>
                        </a:cubicBezTo>
                        <a:cubicBezTo>
                          <a:pt x="1384" y="253"/>
                          <a:pt x="1380" y="248"/>
                          <a:pt x="1374" y="248"/>
                        </a:cubicBezTo>
                        <a:cubicBezTo>
                          <a:pt x="1092" y="248"/>
                          <a:pt x="1092" y="248"/>
                          <a:pt x="1092" y="248"/>
                        </a:cubicBezTo>
                        <a:cubicBezTo>
                          <a:pt x="1087" y="248"/>
                          <a:pt x="1082" y="253"/>
                          <a:pt x="1082" y="258"/>
                        </a:cubicBezTo>
                        <a:cubicBezTo>
                          <a:pt x="1082" y="421"/>
                          <a:pt x="1082" y="421"/>
                          <a:pt x="1082" y="421"/>
                        </a:cubicBezTo>
                        <a:cubicBezTo>
                          <a:pt x="1082" y="427"/>
                          <a:pt x="1087" y="431"/>
                          <a:pt x="1092" y="431"/>
                        </a:cubicBezTo>
                        <a:cubicBezTo>
                          <a:pt x="1374" y="431"/>
                          <a:pt x="1374" y="431"/>
                          <a:pt x="1374" y="431"/>
                        </a:cubicBezTo>
                        <a:cubicBezTo>
                          <a:pt x="1380" y="431"/>
                          <a:pt x="1384" y="427"/>
                          <a:pt x="1384" y="421"/>
                        </a:cubicBezTo>
                        <a:close/>
                      </a:path>
                    </a:pathLst>
                  </a:custGeom>
                  <a:solidFill>
                    <a:schemeClr val="bg2">
                      <a:lumMod val="10000"/>
                    </a:schemeClr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53" name="Freeform 16">
                    <a:extLst>
                      <a:ext uri="{FF2B5EF4-FFF2-40B4-BE49-F238E27FC236}">
                        <a16:creationId xmlns:a16="http://schemas.microsoft.com/office/drawing/2014/main" id="{FC550CA9-610D-5379-4194-BCE543DB0FA2}"/>
                      </a:ext>
                    </a:extLst>
                  </p:cNvPr>
                  <p:cNvSpPr>
                    <a:spLocks noEditPoints="1"/>
                  </p:cNvSpPr>
                  <p:nvPr/>
                </p:nvSpPr>
                <p:spPr bwMode="auto">
                  <a:xfrm>
                    <a:off x="5407149" y="2775204"/>
                    <a:ext cx="1379220" cy="1306068"/>
                  </a:xfrm>
                  <a:custGeom>
                    <a:avLst/>
                    <a:gdLst>
                      <a:gd name="T0" fmla="*/ 1687 w 1932"/>
                      <a:gd name="T1" fmla="*/ 15 h 1828"/>
                      <a:gd name="T2" fmla="*/ 1735 w 1932"/>
                      <a:gd name="T3" fmla="*/ 587 h 1828"/>
                      <a:gd name="T4" fmla="*/ 1719 w 1932"/>
                      <a:gd name="T5" fmla="*/ 604 h 1828"/>
                      <a:gd name="T6" fmla="*/ 1417 w 1932"/>
                      <a:gd name="T7" fmla="*/ 604 h 1828"/>
                      <a:gd name="T8" fmla="*/ 1401 w 1932"/>
                      <a:gd name="T9" fmla="*/ 587 h 1828"/>
                      <a:gd name="T10" fmla="*/ 1449 w 1932"/>
                      <a:gd name="T11" fmla="*/ 15 h 1828"/>
                      <a:gd name="T12" fmla="*/ 1465 w 1932"/>
                      <a:gd name="T13" fmla="*/ 0 h 1828"/>
                      <a:gd name="T14" fmla="*/ 1671 w 1932"/>
                      <a:gd name="T15" fmla="*/ 0 h 1828"/>
                      <a:gd name="T16" fmla="*/ 1687 w 1932"/>
                      <a:gd name="T17" fmla="*/ 15 h 1828"/>
                      <a:gd name="T18" fmla="*/ 1932 w 1932"/>
                      <a:gd name="T19" fmla="*/ 1706 h 1828"/>
                      <a:gd name="T20" fmla="*/ 1932 w 1932"/>
                      <a:gd name="T21" fmla="*/ 1806 h 1828"/>
                      <a:gd name="T22" fmla="*/ 1910 w 1932"/>
                      <a:gd name="T23" fmla="*/ 1828 h 1828"/>
                      <a:gd name="T24" fmla="*/ 22 w 1932"/>
                      <a:gd name="T25" fmla="*/ 1828 h 1828"/>
                      <a:gd name="T26" fmla="*/ 0 w 1932"/>
                      <a:gd name="T27" fmla="*/ 1806 h 1828"/>
                      <a:gd name="T28" fmla="*/ 0 w 1932"/>
                      <a:gd name="T29" fmla="*/ 1706 h 1828"/>
                      <a:gd name="T30" fmla="*/ 22 w 1932"/>
                      <a:gd name="T31" fmla="*/ 1684 h 1828"/>
                      <a:gd name="T32" fmla="*/ 98 w 1932"/>
                      <a:gd name="T33" fmla="*/ 1684 h 1828"/>
                      <a:gd name="T34" fmla="*/ 98 w 1932"/>
                      <a:gd name="T35" fmla="*/ 1647 h 1828"/>
                      <a:gd name="T36" fmla="*/ 120 w 1932"/>
                      <a:gd name="T37" fmla="*/ 1625 h 1828"/>
                      <a:gd name="T38" fmla="*/ 1812 w 1932"/>
                      <a:gd name="T39" fmla="*/ 1625 h 1828"/>
                      <a:gd name="T40" fmla="*/ 1834 w 1932"/>
                      <a:gd name="T41" fmla="*/ 1647 h 1828"/>
                      <a:gd name="T42" fmla="*/ 1834 w 1932"/>
                      <a:gd name="T43" fmla="*/ 1684 h 1828"/>
                      <a:gd name="T44" fmla="*/ 1910 w 1932"/>
                      <a:gd name="T45" fmla="*/ 1684 h 1828"/>
                      <a:gd name="T46" fmla="*/ 1932 w 1932"/>
                      <a:gd name="T47" fmla="*/ 1706 h 1828"/>
                      <a:gd name="T48" fmla="*/ 1812 w 1932"/>
                      <a:gd name="T49" fmla="*/ 670 h 1828"/>
                      <a:gd name="T50" fmla="*/ 1790 w 1932"/>
                      <a:gd name="T51" fmla="*/ 648 h 1828"/>
                      <a:gd name="T52" fmla="*/ 1286 w 1932"/>
                      <a:gd name="T53" fmla="*/ 648 h 1828"/>
                      <a:gd name="T54" fmla="*/ 713 w 1932"/>
                      <a:gd name="T55" fmla="*/ 459 h 1828"/>
                      <a:gd name="T56" fmla="*/ 693 w 1932"/>
                      <a:gd name="T57" fmla="*/ 462 h 1828"/>
                      <a:gd name="T58" fmla="*/ 684 w 1932"/>
                      <a:gd name="T59" fmla="*/ 480 h 1828"/>
                      <a:gd name="T60" fmla="*/ 684 w 1932"/>
                      <a:gd name="T61" fmla="*/ 638 h 1828"/>
                      <a:gd name="T62" fmla="*/ 147 w 1932"/>
                      <a:gd name="T63" fmla="*/ 459 h 1828"/>
                      <a:gd name="T64" fmla="*/ 127 w 1932"/>
                      <a:gd name="T65" fmla="*/ 462 h 1828"/>
                      <a:gd name="T66" fmla="*/ 118 w 1932"/>
                      <a:gd name="T67" fmla="*/ 480 h 1828"/>
                      <a:gd name="T68" fmla="*/ 118 w 1932"/>
                      <a:gd name="T69" fmla="*/ 1581 h 1828"/>
                      <a:gd name="T70" fmla="*/ 162 w 1932"/>
                      <a:gd name="T71" fmla="*/ 1581 h 1828"/>
                      <a:gd name="T72" fmla="*/ 162 w 1932"/>
                      <a:gd name="T73" fmla="*/ 510 h 1828"/>
                      <a:gd name="T74" fmla="*/ 699 w 1932"/>
                      <a:gd name="T75" fmla="*/ 689 h 1828"/>
                      <a:gd name="T76" fmla="*/ 719 w 1932"/>
                      <a:gd name="T77" fmla="*/ 686 h 1828"/>
                      <a:gd name="T78" fmla="*/ 728 w 1932"/>
                      <a:gd name="T79" fmla="*/ 668 h 1828"/>
                      <a:gd name="T80" fmla="*/ 728 w 1932"/>
                      <a:gd name="T81" fmla="*/ 510 h 1828"/>
                      <a:gd name="T82" fmla="*/ 1275 w 1932"/>
                      <a:gd name="T83" fmla="*/ 691 h 1828"/>
                      <a:gd name="T84" fmla="*/ 1282 w 1932"/>
                      <a:gd name="T85" fmla="*/ 692 h 1828"/>
                      <a:gd name="T86" fmla="*/ 1768 w 1932"/>
                      <a:gd name="T87" fmla="*/ 692 h 1828"/>
                      <a:gd name="T88" fmla="*/ 1768 w 1932"/>
                      <a:gd name="T89" fmla="*/ 1581 h 1828"/>
                      <a:gd name="T90" fmla="*/ 1812 w 1932"/>
                      <a:gd name="T91" fmla="*/ 1581 h 1828"/>
                      <a:gd name="T92" fmla="*/ 1812 w 1932"/>
                      <a:gd name="T93" fmla="*/ 670 h 182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  <a:cxn ang="0">
                        <a:pos x="T76" y="T77"/>
                      </a:cxn>
                      <a:cxn ang="0">
                        <a:pos x="T78" y="T79"/>
                      </a:cxn>
                      <a:cxn ang="0">
                        <a:pos x="T80" y="T81"/>
                      </a:cxn>
                      <a:cxn ang="0">
                        <a:pos x="T82" y="T83"/>
                      </a:cxn>
                      <a:cxn ang="0">
                        <a:pos x="T84" y="T85"/>
                      </a:cxn>
                      <a:cxn ang="0">
                        <a:pos x="T86" y="T87"/>
                      </a:cxn>
                      <a:cxn ang="0">
                        <a:pos x="T88" y="T89"/>
                      </a:cxn>
                      <a:cxn ang="0">
                        <a:pos x="T90" y="T91"/>
                      </a:cxn>
                      <a:cxn ang="0">
                        <a:pos x="T92" y="T93"/>
                      </a:cxn>
                    </a:cxnLst>
                    <a:rect l="0" t="0" r="r" b="b"/>
                    <a:pathLst>
                      <a:path w="1932" h="1828">
                        <a:moveTo>
                          <a:pt x="1687" y="15"/>
                        </a:moveTo>
                        <a:cubicBezTo>
                          <a:pt x="1735" y="587"/>
                          <a:pt x="1735" y="587"/>
                          <a:pt x="1735" y="587"/>
                        </a:cubicBezTo>
                        <a:cubicBezTo>
                          <a:pt x="1736" y="596"/>
                          <a:pt x="1728" y="604"/>
                          <a:pt x="1719" y="604"/>
                        </a:cubicBezTo>
                        <a:cubicBezTo>
                          <a:pt x="1417" y="604"/>
                          <a:pt x="1417" y="604"/>
                          <a:pt x="1417" y="604"/>
                        </a:cubicBezTo>
                        <a:cubicBezTo>
                          <a:pt x="1407" y="604"/>
                          <a:pt x="1400" y="596"/>
                          <a:pt x="1401" y="587"/>
                        </a:cubicBezTo>
                        <a:cubicBezTo>
                          <a:pt x="1449" y="15"/>
                          <a:pt x="1449" y="15"/>
                          <a:pt x="1449" y="15"/>
                        </a:cubicBezTo>
                        <a:cubicBezTo>
                          <a:pt x="1450" y="6"/>
                          <a:pt x="1457" y="0"/>
                          <a:pt x="1465" y="0"/>
                        </a:cubicBezTo>
                        <a:cubicBezTo>
                          <a:pt x="1671" y="0"/>
                          <a:pt x="1671" y="0"/>
                          <a:pt x="1671" y="0"/>
                        </a:cubicBezTo>
                        <a:cubicBezTo>
                          <a:pt x="1679" y="0"/>
                          <a:pt x="1686" y="6"/>
                          <a:pt x="1687" y="15"/>
                        </a:cubicBezTo>
                        <a:close/>
                        <a:moveTo>
                          <a:pt x="1932" y="1706"/>
                        </a:moveTo>
                        <a:cubicBezTo>
                          <a:pt x="1932" y="1806"/>
                          <a:pt x="1932" y="1806"/>
                          <a:pt x="1932" y="1806"/>
                        </a:cubicBezTo>
                        <a:cubicBezTo>
                          <a:pt x="1932" y="1818"/>
                          <a:pt x="1923" y="1828"/>
                          <a:pt x="1910" y="1828"/>
                        </a:cubicBezTo>
                        <a:cubicBezTo>
                          <a:pt x="22" y="1828"/>
                          <a:pt x="22" y="1828"/>
                          <a:pt x="22" y="1828"/>
                        </a:cubicBezTo>
                        <a:cubicBezTo>
                          <a:pt x="9" y="1828"/>
                          <a:pt x="0" y="1818"/>
                          <a:pt x="0" y="1806"/>
                        </a:cubicBezTo>
                        <a:cubicBezTo>
                          <a:pt x="0" y="1706"/>
                          <a:pt x="0" y="1706"/>
                          <a:pt x="0" y="1706"/>
                        </a:cubicBezTo>
                        <a:cubicBezTo>
                          <a:pt x="0" y="1694"/>
                          <a:pt x="9" y="1684"/>
                          <a:pt x="22" y="1684"/>
                        </a:cubicBezTo>
                        <a:cubicBezTo>
                          <a:pt x="98" y="1684"/>
                          <a:pt x="98" y="1684"/>
                          <a:pt x="98" y="1684"/>
                        </a:cubicBezTo>
                        <a:cubicBezTo>
                          <a:pt x="98" y="1647"/>
                          <a:pt x="98" y="1647"/>
                          <a:pt x="98" y="1647"/>
                        </a:cubicBezTo>
                        <a:cubicBezTo>
                          <a:pt x="98" y="1635"/>
                          <a:pt x="108" y="1625"/>
                          <a:pt x="120" y="1625"/>
                        </a:cubicBezTo>
                        <a:cubicBezTo>
                          <a:pt x="1812" y="1625"/>
                          <a:pt x="1812" y="1625"/>
                          <a:pt x="1812" y="1625"/>
                        </a:cubicBezTo>
                        <a:cubicBezTo>
                          <a:pt x="1824" y="1625"/>
                          <a:pt x="1834" y="1635"/>
                          <a:pt x="1834" y="1647"/>
                        </a:cubicBezTo>
                        <a:cubicBezTo>
                          <a:pt x="1834" y="1684"/>
                          <a:pt x="1834" y="1684"/>
                          <a:pt x="1834" y="1684"/>
                        </a:cubicBezTo>
                        <a:cubicBezTo>
                          <a:pt x="1910" y="1684"/>
                          <a:pt x="1910" y="1684"/>
                          <a:pt x="1910" y="1684"/>
                        </a:cubicBezTo>
                        <a:cubicBezTo>
                          <a:pt x="1923" y="1684"/>
                          <a:pt x="1932" y="1694"/>
                          <a:pt x="1932" y="1706"/>
                        </a:cubicBezTo>
                        <a:close/>
                        <a:moveTo>
                          <a:pt x="1812" y="670"/>
                        </a:moveTo>
                        <a:cubicBezTo>
                          <a:pt x="1812" y="658"/>
                          <a:pt x="1802" y="648"/>
                          <a:pt x="1790" y="648"/>
                        </a:cubicBezTo>
                        <a:cubicBezTo>
                          <a:pt x="1286" y="648"/>
                          <a:pt x="1286" y="648"/>
                          <a:pt x="1286" y="648"/>
                        </a:cubicBezTo>
                        <a:cubicBezTo>
                          <a:pt x="713" y="459"/>
                          <a:pt x="713" y="459"/>
                          <a:pt x="713" y="459"/>
                        </a:cubicBezTo>
                        <a:cubicBezTo>
                          <a:pt x="706" y="457"/>
                          <a:pt x="699" y="458"/>
                          <a:pt x="693" y="462"/>
                        </a:cubicBezTo>
                        <a:cubicBezTo>
                          <a:pt x="687" y="466"/>
                          <a:pt x="684" y="473"/>
                          <a:pt x="684" y="480"/>
                        </a:cubicBezTo>
                        <a:cubicBezTo>
                          <a:pt x="684" y="638"/>
                          <a:pt x="684" y="638"/>
                          <a:pt x="684" y="638"/>
                        </a:cubicBezTo>
                        <a:cubicBezTo>
                          <a:pt x="147" y="459"/>
                          <a:pt x="147" y="459"/>
                          <a:pt x="147" y="459"/>
                        </a:cubicBezTo>
                        <a:cubicBezTo>
                          <a:pt x="140" y="457"/>
                          <a:pt x="133" y="458"/>
                          <a:pt x="127" y="462"/>
                        </a:cubicBezTo>
                        <a:cubicBezTo>
                          <a:pt x="121" y="466"/>
                          <a:pt x="118" y="473"/>
                          <a:pt x="118" y="480"/>
                        </a:cubicBezTo>
                        <a:cubicBezTo>
                          <a:pt x="118" y="1581"/>
                          <a:pt x="118" y="1581"/>
                          <a:pt x="118" y="1581"/>
                        </a:cubicBezTo>
                        <a:cubicBezTo>
                          <a:pt x="162" y="1581"/>
                          <a:pt x="162" y="1581"/>
                          <a:pt x="162" y="1581"/>
                        </a:cubicBezTo>
                        <a:cubicBezTo>
                          <a:pt x="162" y="510"/>
                          <a:pt x="162" y="510"/>
                          <a:pt x="162" y="510"/>
                        </a:cubicBezTo>
                        <a:cubicBezTo>
                          <a:pt x="699" y="689"/>
                          <a:pt x="699" y="689"/>
                          <a:pt x="699" y="689"/>
                        </a:cubicBezTo>
                        <a:cubicBezTo>
                          <a:pt x="706" y="691"/>
                          <a:pt x="713" y="690"/>
                          <a:pt x="719" y="686"/>
                        </a:cubicBezTo>
                        <a:cubicBezTo>
                          <a:pt x="725" y="682"/>
                          <a:pt x="728" y="675"/>
                          <a:pt x="728" y="668"/>
                        </a:cubicBezTo>
                        <a:cubicBezTo>
                          <a:pt x="728" y="510"/>
                          <a:pt x="728" y="510"/>
                          <a:pt x="728" y="510"/>
                        </a:cubicBezTo>
                        <a:cubicBezTo>
                          <a:pt x="1275" y="691"/>
                          <a:pt x="1275" y="691"/>
                          <a:pt x="1275" y="691"/>
                        </a:cubicBezTo>
                        <a:cubicBezTo>
                          <a:pt x="1277" y="692"/>
                          <a:pt x="1280" y="692"/>
                          <a:pt x="1282" y="692"/>
                        </a:cubicBezTo>
                        <a:cubicBezTo>
                          <a:pt x="1768" y="692"/>
                          <a:pt x="1768" y="692"/>
                          <a:pt x="1768" y="692"/>
                        </a:cubicBezTo>
                        <a:cubicBezTo>
                          <a:pt x="1768" y="1581"/>
                          <a:pt x="1768" y="1581"/>
                          <a:pt x="1768" y="1581"/>
                        </a:cubicBezTo>
                        <a:cubicBezTo>
                          <a:pt x="1812" y="1581"/>
                          <a:pt x="1812" y="1581"/>
                          <a:pt x="1812" y="1581"/>
                        </a:cubicBezTo>
                        <a:lnTo>
                          <a:pt x="1812" y="670"/>
                        </a:lnTo>
                        <a:close/>
                      </a:path>
                    </a:pathLst>
                  </a:custGeom>
                  <a:solidFill>
                    <a:srgbClr val="00967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</p:grpSp>
          </p:grpSp>
          <p:sp>
            <p:nvSpPr>
              <p:cNvPr id="54" name="Rectangle 53">
                <a:extLst>
                  <a:ext uri="{FF2B5EF4-FFF2-40B4-BE49-F238E27FC236}">
                    <a16:creationId xmlns:a16="http://schemas.microsoft.com/office/drawing/2014/main" id="{B5ADD626-A90A-16F6-5F32-750640CB0119}"/>
                  </a:ext>
                </a:extLst>
              </p:cNvPr>
              <p:cNvSpPr/>
              <p:nvPr/>
            </p:nvSpPr>
            <p:spPr>
              <a:xfrm>
                <a:off x="445682" y="4988142"/>
                <a:ext cx="1554884" cy="897483"/>
              </a:xfrm>
              <a:prstGeom prst="rect">
                <a:avLst/>
              </a:prstGeom>
              <a:solidFill>
                <a:schemeClr val="bg1"/>
              </a:solidFill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1240B29-F687-4F45-9708-019B960494DF}">
                  <a14:hiddenLine xmlns:a14="http://schemas.microsoft.com/office/drawing/2010/main" w="9525" cap="rnd" cmpd="sng" algn="ctr">
                    <a:solidFill>
                      <a:srgbClr val="FFFFFF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200">
                  <a:solidFill>
                    <a:srgbClr val="FFFFFF"/>
                  </a:solidFill>
                </a:endParaRPr>
              </a:p>
            </p:txBody>
          </p:sp>
          <p:sp>
            <p:nvSpPr>
              <p:cNvPr id="55" name="Rectangle 54">
                <a:extLst>
                  <a:ext uri="{FF2B5EF4-FFF2-40B4-BE49-F238E27FC236}">
                    <a16:creationId xmlns:a16="http://schemas.microsoft.com/office/drawing/2014/main" id="{22A3F24F-7ABC-29FF-4161-412506D454F7}"/>
                  </a:ext>
                </a:extLst>
              </p:cNvPr>
              <p:cNvSpPr/>
              <p:nvPr/>
            </p:nvSpPr>
            <p:spPr>
              <a:xfrm>
                <a:off x="445682" y="4835534"/>
                <a:ext cx="1048041" cy="897483"/>
              </a:xfrm>
              <a:prstGeom prst="rect">
                <a:avLst/>
              </a:prstGeom>
              <a:solidFill>
                <a:schemeClr val="bg1"/>
              </a:solidFill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1240B29-F687-4F45-9708-019B960494DF}">
                  <a14:hiddenLine xmlns:a14="http://schemas.microsoft.com/office/drawing/2010/main" w="9525" cap="rnd" cmpd="sng" algn="ctr">
                    <a:solidFill>
                      <a:srgbClr val="FFFFFF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200">
                  <a:solidFill>
                    <a:srgbClr val="FFFFFF"/>
                  </a:solidFill>
                </a:endParaRPr>
              </a:p>
            </p:txBody>
          </p:sp>
          <p:sp>
            <p:nvSpPr>
              <p:cNvPr id="45" name="AutoShape 13">
                <a:extLst>
                  <a:ext uri="{FF2B5EF4-FFF2-40B4-BE49-F238E27FC236}">
                    <a16:creationId xmlns:a16="http://schemas.microsoft.com/office/drawing/2014/main" id="{F260AB0B-EC79-90BD-FED8-482EB486883A}"/>
                  </a:ext>
                </a:extLst>
              </p:cNvPr>
              <p:cNvSpPr>
                <a:spLocks noChangeAspect="1" noChangeArrowheads="1" noTextEdit="1"/>
              </p:cNvSpPr>
              <p:nvPr/>
            </p:nvSpPr>
            <p:spPr bwMode="auto">
              <a:xfrm>
                <a:off x="678644" y="4376235"/>
                <a:ext cx="1644396" cy="164592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7" name="Freeform 15">
                <a:extLst>
                  <a:ext uri="{FF2B5EF4-FFF2-40B4-BE49-F238E27FC236}">
                    <a16:creationId xmlns:a16="http://schemas.microsoft.com/office/drawing/2014/main" id="{4E208C04-E892-7A45-DFDC-5632FFABA20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007828" y="5325531"/>
                <a:ext cx="987552" cy="308229"/>
              </a:xfrm>
              <a:custGeom>
                <a:avLst/>
                <a:gdLst>
                  <a:gd name="T0" fmla="*/ 10 w 1384"/>
                  <a:gd name="T1" fmla="*/ 183 h 431"/>
                  <a:gd name="T2" fmla="*/ 0 w 1384"/>
                  <a:gd name="T3" fmla="*/ 10 h 431"/>
                  <a:gd name="T4" fmla="*/ 292 w 1384"/>
                  <a:gd name="T5" fmla="*/ 0 h 431"/>
                  <a:gd name="T6" fmla="*/ 302 w 1384"/>
                  <a:gd name="T7" fmla="*/ 173 h 431"/>
                  <a:gd name="T8" fmla="*/ 662 w 1384"/>
                  <a:gd name="T9" fmla="*/ 173 h 431"/>
                  <a:gd name="T10" fmla="*/ 652 w 1384"/>
                  <a:gd name="T11" fmla="*/ 0 h 431"/>
                  <a:gd name="T12" fmla="*/ 361 w 1384"/>
                  <a:gd name="T13" fmla="*/ 10 h 431"/>
                  <a:gd name="T14" fmla="*/ 371 w 1384"/>
                  <a:gd name="T15" fmla="*/ 183 h 431"/>
                  <a:gd name="T16" fmla="*/ 662 w 1384"/>
                  <a:gd name="T17" fmla="*/ 173 h 431"/>
                  <a:gd name="T18" fmla="*/ 1023 w 1384"/>
                  <a:gd name="T19" fmla="*/ 10 h 431"/>
                  <a:gd name="T20" fmla="*/ 732 w 1384"/>
                  <a:gd name="T21" fmla="*/ 0 h 431"/>
                  <a:gd name="T22" fmla="*/ 722 w 1384"/>
                  <a:gd name="T23" fmla="*/ 173 h 431"/>
                  <a:gd name="T24" fmla="*/ 1013 w 1384"/>
                  <a:gd name="T25" fmla="*/ 183 h 431"/>
                  <a:gd name="T26" fmla="*/ 1384 w 1384"/>
                  <a:gd name="T27" fmla="*/ 173 h 431"/>
                  <a:gd name="T28" fmla="*/ 1374 w 1384"/>
                  <a:gd name="T29" fmla="*/ 0 h 431"/>
                  <a:gd name="T30" fmla="*/ 1082 w 1384"/>
                  <a:gd name="T31" fmla="*/ 10 h 431"/>
                  <a:gd name="T32" fmla="*/ 1092 w 1384"/>
                  <a:gd name="T33" fmla="*/ 183 h 431"/>
                  <a:gd name="T34" fmla="*/ 1384 w 1384"/>
                  <a:gd name="T35" fmla="*/ 173 h 431"/>
                  <a:gd name="T36" fmla="*/ 302 w 1384"/>
                  <a:gd name="T37" fmla="*/ 258 h 431"/>
                  <a:gd name="T38" fmla="*/ 10 w 1384"/>
                  <a:gd name="T39" fmla="*/ 248 h 431"/>
                  <a:gd name="T40" fmla="*/ 0 w 1384"/>
                  <a:gd name="T41" fmla="*/ 421 h 431"/>
                  <a:gd name="T42" fmla="*/ 292 w 1384"/>
                  <a:gd name="T43" fmla="*/ 431 h 431"/>
                  <a:gd name="T44" fmla="*/ 662 w 1384"/>
                  <a:gd name="T45" fmla="*/ 421 h 431"/>
                  <a:gd name="T46" fmla="*/ 652 w 1384"/>
                  <a:gd name="T47" fmla="*/ 248 h 431"/>
                  <a:gd name="T48" fmla="*/ 361 w 1384"/>
                  <a:gd name="T49" fmla="*/ 258 h 431"/>
                  <a:gd name="T50" fmla="*/ 371 w 1384"/>
                  <a:gd name="T51" fmla="*/ 431 h 431"/>
                  <a:gd name="T52" fmla="*/ 662 w 1384"/>
                  <a:gd name="T53" fmla="*/ 421 h 431"/>
                  <a:gd name="T54" fmla="*/ 1023 w 1384"/>
                  <a:gd name="T55" fmla="*/ 258 h 431"/>
                  <a:gd name="T56" fmla="*/ 732 w 1384"/>
                  <a:gd name="T57" fmla="*/ 248 h 431"/>
                  <a:gd name="T58" fmla="*/ 722 w 1384"/>
                  <a:gd name="T59" fmla="*/ 421 h 431"/>
                  <a:gd name="T60" fmla="*/ 1013 w 1384"/>
                  <a:gd name="T61" fmla="*/ 431 h 431"/>
                  <a:gd name="T62" fmla="*/ 1384 w 1384"/>
                  <a:gd name="T63" fmla="*/ 421 h 431"/>
                  <a:gd name="T64" fmla="*/ 1374 w 1384"/>
                  <a:gd name="T65" fmla="*/ 248 h 431"/>
                  <a:gd name="T66" fmla="*/ 1082 w 1384"/>
                  <a:gd name="T67" fmla="*/ 258 h 431"/>
                  <a:gd name="T68" fmla="*/ 1092 w 1384"/>
                  <a:gd name="T69" fmla="*/ 431 h 431"/>
                  <a:gd name="T70" fmla="*/ 1384 w 1384"/>
                  <a:gd name="T71" fmla="*/ 421 h 4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1384" h="431">
                    <a:moveTo>
                      <a:pt x="292" y="183"/>
                    </a:moveTo>
                    <a:cubicBezTo>
                      <a:pt x="10" y="183"/>
                      <a:pt x="10" y="183"/>
                      <a:pt x="10" y="183"/>
                    </a:cubicBezTo>
                    <a:cubicBezTo>
                      <a:pt x="4" y="183"/>
                      <a:pt x="0" y="179"/>
                      <a:pt x="0" y="173"/>
                    </a:cubicBezTo>
                    <a:cubicBezTo>
                      <a:pt x="0" y="10"/>
                      <a:pt x="0" y="10"/>
                      <a:pt x="0" y="10"/>
                    </a:cubicBezTo>
                    <a:cubicBezTo>
                      <a:pt x="0" y="5"/>
                      <a:pt x="4" y="0"/>
                      <a:pt x="10" y="0"/>
                    </a:cubicBezTo>
                    <a:cubicBezTo>
                      <a:pt x="292" y="0"/>
                      <a:pt x="292" y="0"/>
                      <a:pt x="292" y="0"/>
                    </a:cubicBezTo>
                    <a:cubicBezTo>
                      <a:pt x="297" y="0"/>
                      <a:pt x="302" y="5"/>
                      <a:pt x="302" y="10"/>
                    </a:cubicBezTo>
                    <a:cubicBezTo>
                      <a:pt x="302" y="173"/>
                      <a:pt x="302" y="173"/>
                      <a:pt x="302" y="173"/>
                    </a:cubicBezTo>
                    <a:cubicBezTo>
                      <a:pt x="302" y="179"/>
                      <a:pt x="297" y="183"/>
                      <a:pt x="292" y="183"/>
                    </a:cubicBezTo>
                    <a:close/>
                    <a:moveTo>
                      <a:pt x="662" y="173"/>
                    </a:moveTo>
                    <a:cubicBezTo>
                      <a:pt x="662" y="10"/>
                      <a:pt x="662" y="10"/>
                      <a:pt x="662" y="10"/>
                    </a:cubicBezTo>
                    <a:cubicBezTo>
                      <a:pt x="662" y="5"/>
                      <a:pt x="658" y="0"/>
                      <a:pt x="652" y="0"/>
                    </a:cubicBezTo>
                    <a:cubicBezTo>
                      <a:pt x="371" y="0"/>
                      <a:pt x="371" y="0"/>
                      <a:pt x="371" y="0"/>
                    </a:cubicBezTo>
                    <a:cubicBezTo>
                      <a:pt x="365" y="0"/>
                      <a:pt x="361" y="5"/>
                      <a:pt x="361" y="10"/>
                    </a:cubicBezTo>
                    <a:cubicBezTo>
                      <a:pt x="361" y="173"/>
                      <a:pt x="361" y="173"/>
                      <a:pt x="361" y="173"/>
                    </a:cubicBezTo>
                    <a:cubicBezTo>
                      <a:pt x="361" y="179"/>
                      <a:pt x="365" y="183"/>
                      <a:pt x="371" y="183"/>
                    </a:cubicBezTo>
                    <a:cubicBezTo>
                      <a:pt x="652" y="183"/>
                      <a:pt x="652" y="183"/>
                      <a:pt x="652" y="183"/>
                    </a:cubicBezTo>
                    <a:cubicBezTo>
                      <a:pt x="658" y="183"/>
                      <a:pt x="662" y="179"/>
                      <a:pt x="662" y="173"/>
                    </a:cubicBezTo>
                    <a:close/>
                    <a:moveTo>
                      <a:pt x="1023" y="173"/>
                    </a:moveTo>
                    <a:cubicBezTo>
                      <a:pt x="1023" y="10"/>
                      <a:pt x="1023" y="10"/>
                      <a:pt x="1023" y="10"/>
                    </a:cubicBezTo>
                    <a:cubicBezTo>
                      <a:pt x="1023" y="5"/>
                      <a:pt x="1019" y="0"/>
                      <a:pt x="1013" y="0"/>
                    </a:cubicBezTo>
                    <a:cubicBezTo>
                      <a:pt x="732" y="0"/>
                      <a:pt x="732" y="0"/>
                      <a:pt x="732" y="0"/>
                    </a:cubicBezTo>
                    <a:cubicBezTo>
                      <a:pt x="726" y="0"/>
                      <a:pt x="722" y="5"/>
                      <a:pt x="722" y="10"/>
                    </a:cubicBezTo>
                    <a:cubicBezTo>
                      <a:pt x="722" y="173"/>
                      <a:pt x="722" y="173"/>
                      <a:pt x="722" y="173"/>
                    </a:cubicBezTo>
                    <a:cubicBezTo>
                      <a:pt x="722" y="179"/>
                      <a:pt x="726" y="183"/>
                      <a:pt x="732" y="183"/>
                    </a:cubicBezTo>
                    <a:cubicBezTo>
                      <a:pt x="1013" y="183"/>
                      <a:pt x="1013" y="183"/>
                      <a:pt x="1013" y="183"/>
                    </a:cubicBezTo>
                    <a:cubicBezTo>
                      <a:pt x="1019" y="183"/>
                      <a:pt x="1023" y="179"/>
                      <a:pt x="1023" y="173"/>
                    </a:cubicBezTo>
                    <a:close/>
                    <a:moveTo>
                      <a:pt x="1384" y="173"/>
                    </a:moveTo>
                    <a:cubicBezTo>
                      <a:pt x="1384" y="10"/>
                      <a:pt x="1384" y="10"/>
                      <a:pt x="1384" y="10"/>
                    </a:cubicBezTo>
                    <a:cubicBezTo>
                      <a:pt x="1384" y="5"/>
                      <a:pt x="1380" y="0"/>
                      <a:pt x="1374" y="0"/>
                    </a:cubicBezTo>
                    <a:cubicBezTo>
                      <a:pt x="1092" y="0"/>
                      <a:pt x="1092" y="0"/>
                      <a:pt x="1092" y="0"/>
                    </a:cubicBezTo>
                    <a:cubicBezTo>
                      <a:pt x="1087" y="0"/>
                      <a:pt x="1082" y="5"/>
                      <a:pt x="1082" y="10"/>
                    </a:cubicBezTo>
                    <a:cubicBezTo>
                      <a:pt x="1082" y="173"/>
                      <a:pt x="1082" y="173"/>
                      <a:pt x="1082" y="173"/>
                    </a:cubicBezTo>
                    <a:cubicBezTo>
                      <a:pt x="1082" y="179"/>
                      <a:pt x="1087" y="183"/>
                      <a:pt x="1092" y="183"/>
                    </a:cubicBezTo>
                    <a:cubicBezTo>
                      <a:pt x="1374" y="183"/>
                      <a:pt x="1374" y="183"/>
                      <a:pt x="1374" y="183"/>
                    </a:cubicBezTo>
                    <a:cubicBezTo>
                      <a:pt x="1380" y="183"/>
                      <a:pt x="1384" y="179"/>
                      <a:pt x="1384" y="173"/>
                    </a:cubicBezTo>
                    <a:close/>
                    <a:moveTo>
                      <a:pt x="302" y="421"/>
                    </a:moveTo>
                    <a:cubicBezTo>
                      <a:pt x="302" y="258"/>
                      <a:pt x="302" y="258"/>
                      <a:pt x="302" y="258"/>
                    </a:cubicBezTo>
                    <a:cubicBezTo>
                      <a:pt x="302" y="253"/>
                      <a:pt x="297" y="248"/>
                      <a:pt x="292" y="248"/>
                    </a:cubicBezTo>
                    <a:cubicBezTo>
                      <a:pt x="10" y="248"/>
                      <a:pt x="10" y="248"/>
                      <a:pt x="10" y="248"/>
                    </a:cubicBezTo>
                    <a:cubicBezTo>
                      <a:pt x="4" y="248"/>
                      <a:pt x="0" y="253"/>
                      <a:pt x="0" y="258"/>
                    </a:cubicBezTo>
                    <a:cubicBezTo>
                      <a:pt x="0" y="421"/>
                      <a:pt x="0" y="421"/>
                      <a:pt x="0" y="421"/>
                    </a:cubicBezTo>
                    <a:cubicBezTo>
                      <a:pt x="0" y="427"/>
                      <a:pt x="4" y="431"/>
                      <a:pt x="10" y="431"/>
                    </a:cubicBezTo>
                    <a:cubicBezTo>
                      <a:pt x="292" y="431"/>
                      <a:pt x="292" y="431"/>
                      <a:pt x="292" y="431"/>
                    </a:cubicBezTo>
                    <a:cubicBezTo>
                      <a:pt x="297" y="431"/>
                      <a:pt x="302" y="427"/>
                      <a:pt x="302" y="421"/>
                    </a:cubicBezTo>
                    <a:close/>
                    <a:moveTo>
                      <a:pt x="662" y="421"/>
                    </a:moveTo>
                    <a:cubicBezTo>
                      <a:pt x="662" y="258"/>
                      <a:pt x="662" y="258"/>
                      <a:pt x="662" y="258"/>
                    </a:cubicBezTo>
                    <a:cubicBezTo>
                      <a:pt x="662" y="253"/>
                      <a:pt x="658" y="248"/>
                      <a:pt x="652" y="248"/>
                    </a:cubicBezTo>
                    <a:cubicBezTo>
                      <a:pt x="371" y="248"/>
                      <a:pt x="371" y="248"/>
                      <a:pt x="371" y="248"/>
                    </a:cubicBezTo>
                    <a:cubicBezTo>
                      <a:pt x="365" y="248"/>
                      <a:pt x="361" y="253"/>
                      <a:pt x="361" y="258"/>
                    </a:cubicBezTo>
                    <a:cubicBezTo>
                      <a:pt x="361" y="421"/>
                      <a:pt x="361" y="421"/>
                      <a:pt x="361" y="421"/>
                    </a:cubicBezTo>
                    <a:cubicBezTo>
                      <a:pt x="361" y="427"/>
                      <a:pt x="365" y="431"/>
                      <a:pt x="371" y="431"/>
                    </a:cubicBezTo>
                    <a:cubicBezTo>
                      <a:pt x="652" y="431"/>
                      <a:pt x="652" y="431"/>
                      <a:pt x="652" y="431"/>
                    </a:cubicBezTo>
                    <a:cubicBezTo>
                      <a:pt x="658" y="431"/>
                      <a:pt x="662" y="427"/>
                      <a:pt x="662" y="421"/>
                    </a:cubicBezTo>
                    <a:close/>
                    <a:moveTo>
                      <a:pt x="1023" y="421"/>
                    </a:moveTo>
                    <a:cubicBezTo>
                      <a:pt x="1023" y="258"/>
                      <a:pt x="1023" y="258"/>
                      <a:pt x="1023" y="258"/>
                    </a:cubicBezTo>
                    <a:cubicBezTo>
                      <a:pt x="1023" y="253"/>
                      <a:pt x="1019" y="248"/>
                      <a:pt x="1013" y="248"/>
                    </a:cubicBezTo>
                    <a:cubicBezTo>
                      <a:pt x="732" y="248"/>
                      <a:pt x="732" y="248"/>
                      <a:pt x="732" y="248"/>
                    </a:cubicBezTo>
                    <a:cubicBezTo>
                      <a:pt x="726" y="248"/>
                      <a:pt x="722" y="253"/>
                      <a:pt x="722" y="258"/>
                    </a:cubicBezTo>
                    <a:cubicBezTo>
                      <a:pt x="722" y="421"/>
                      <a:pt x="722" y="421"/>
                      <a:pt x="722" y="421"/>
                    </a:cubicBezTo>
                    <a:cubicBezTo>
                      <a:pt x="722" y="427"/>
                      <a:pt x="726" y="431"/>
                      <a:pt x="732" y="431"/>
                    </a:cubicBezTo>
                    <a:cubicBezTo>
                      <a:pt x="1013" y="431"/>
                      <a:pt x="1013" y="431"/>
                      <a:pt x="1013" y="431"/>
                    </a:cubicBezTo>
                    <a:cubicBezTo>
                      <a:pt x="1019" y="431"/>
                      <a:pt x="1023" y="427"/>
                      <a:pt x="1023" y="421"/>
                    </a:cubicBezTo>
                    <a:close/>
                    <a:moveTo>
                      <a:pt x="1384" y="421"/>
                    </a:moveTo>
                    <a:cubicBezTo>
                      <a:pt x="1384" y="258"/>
                      <a:pt x="1384" y="258"/>
                      <a:pt x="1384" y="258"/>
                    </a:cubicBezTo>
                    <a:cubicBezTo>
                      <a:pt x="1384" y="253"/>
                      <a:pt x="1380" y="248"/>
                      <a:pt x="1374" y="248"/>
                    </a:cubicBezTo>
                    <a:cubicBezTo>
                      <a:pt x="1092" y="248"/>
                      <a:pt x="1092" y="248"/>
                      <a:pt x="1092" y="248"/>
                    </a:cubicBezTo>
                    <a:cubicBezTo>
                      <a:pt x="1087" y="248"/>
                      <a:pt x="1082" y="253"/>
                      <a:pt x="1082" y="258"/>
                    </a:cubicBezTo>
                    <a:cubicBezTo>
                      <a:pt x="1082" y="421"/>
                      <a:pt x="1082" y="421"/>
                      <a:pt x="1082" y="421"/>
                    </a:cubicBezTo>
                    <a:cubicBezTo>
                      <a:pt x="1082" y="427"/>
                      <a:pt x="1087" y="431"/>
                      <a:pt x="1092" y="431"/>
                    </a:cubicBezTo>
                    <a:cubicBezTo>
                      <a:pt x="1374" y="431"/>
                      <a:pt x="1374" y="431"/>
                      <a:pt x="1374" y="431"/>
                    </a:cubicBezTo>
                    <a:cubicBezTo>
                      <a:pt x="1380" y="431"/>
                      <a:pt x="1384" y="427"/>
                      <a:pt x="1384" y="421"/>
                    </a:cubicBezTo>
                    <a:close/>
                  </a:path>
                </a:pathLst>
              </a:custGeom>
              <a:solidFill>
                <a:schemeClr val="bg2">
                  <a:lumMod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8" name="Freeform 16">
                <a:extLst>
                  <a:ext uri="{FF2B5EF4-FFF2-40B4-BE49-F238E27FC236}">
                    <a16:creationId xmlns:a16="http://schemas.microsoft.com/office/drawing/2014/main" id="{AC45BD36-04A2-F561-095B-96678F6A227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11994" y="4545399"/>
                <a:ext cx="1379220" cy="1306068"/>
              </a:xfrm>
              <a:custGeom>
                <a:avLst/>
                <a:gdLst>
                  <a:gd name="T0" fmla="*/ 1687 w 1932"/>
                  <a:gd name="T1" fmla="*/ 15 h 1828"/>
                  <a:gd name="T2" fmla="*/ 1735 w 1932"/>
                  <a:gd name="T3" fmla="*/ 587 h 1828"/>
                  <a:gd name="T4" fmla="*/ 1719 w 1932"/>
                  <a:gd name="T5" fmla="*/ 604 h 1828"/>
                  <a:gd name="T6" fmla="*/ 1417 w 1932"/>
                  <a:gd name="T7" fmla="*/ 604 h 1828"/>
                  <a:gd name="T8" fmla="*/ 1401 w 1932"/>
                  <a:gd name="T9" fmla="*/ 587 h 1828"/>
                  <a:gd name="T10" fmla="*/ 1449 w 1932"/>
                  <a:gd name="T11" fmla="*/ 15 h 1828"/>
                  <a:gd name="T12" fmla="*/ 1465 w 1932"/>
                  <a:gd name="T13" fmla="*/ 0 h 1828"/>
                  <a:gd name="T14" fmla="*/ 1671 w 1932"/>
                  <a:gd name="T15" fmla="*/ 0 h 1828"/>
                  <a:gd name="T16" fmla="*/ 1687 w 1932"/>
                  <a:gd name="T17" fmla="*/ 15 h 1828"/>
                  <a:gd name="T18" fmla="*/ 1932 w 1932"/>
                  <a:gd name="T19" fmla="*/ 1706 h 1828"/>
                  <a:gd name="T20" fmla="*/ 1932 w 1932"/>
                  <a:gd name="T21" fmla="*/ 1806 h 1828"/>
                  <a:gd name="T22" fmla="*/ 1910 w 1932"/>
                  <a:gd name="T23" fmla="*/ 1828 h 1828"/>
                  <a:gd name="T24" fmla="*/ 22 w 1932"/>
                  <a:gd name="T25" fmla="*/ 1828 h 1828"/>
                  <a:gd name="T26" fmla="*/ 0 w 1932"/>
                  <a:gd name="T27" fmla="*/ 1806 h 1828"/>
                  <a:gd name="T28" fmla="*/ 0 w 1932"/>
                  <a:gd name="T29" fmla="*/ 1706 h 1828"/>
                  <a:gd name="T30" fmla="*/ 22 w 1932"/>
                  <a:gd name="T31" fmla="*/ 1684 h 1828"/>
                  <a:gd name="T32" fmla="*/ 98 w 1932"/>
                  <a:gd name="T33" fmla="*/ 1684 h 1828"/>
                  <a:gd name="T34" fmla="*/ 98 w 1932"/>
                  <a:gd name="T35" fmla="*/ 1647 h 1828"/>
                  <a:gd name="T36" fmla="*/ 120 w 1932"/>
                  <a:gd name="T37" fmla="*/ 1625 h 1828"/>
                  <a:gd name="T38" fmla="*/ 1812 w 1932"/>
                  <a:gd name="T39" fmla="*/ 1625 h 1828"/>
                  <a:gd name="T40" fmla="*/ 1834 w 1932"/>
                  <a:gd name="T41" fmla="*/ 1647 h 1828"/>
                  <a:gd name="T42" fmla="*/ 1834 w 1932"/>
                  <a:gd name="T43" fmla="*/ 1684 h 1828"/>
                  <a:gd name="T44" fmla="*/ 1910 w 1932"/>
                  <a:gd name="T45" fmla="*/ 1684 h 1828"/>
                  <a:gd name="T46" fmla="*/ 1932 w 1932"/>
                  <a:gd name="T47" fmla="*/ 1706 h 1828"/>
                  <a:gd name="T48" fmla="*/ 1812 w 1932"/>
                  <a:gd name="T49" fmla="*/ 670 h 1828"/>
                  <a:gd name="T50" fmla="*/ 1790 w 1932"/>
                  <a:gd name="T51" fmla="*/ 648 h 1828"/>
                  <a:gd name="T52" fmla="*/ 1286 w 1932"/>
                  <a:gd name="T53" fmla="*/ 648 h 1828"/>
                  <a:gd name="T54" fmla="*/ 713 w 1932"/>
                  <a:gd name="T55" fmla="*/ 459 h 1828"/>
                  <a:gd name="T56" fmla="*/ 693 w 1932"/>
                  <a:gd name="T57" fmla="*/ 462 h 1828"/>
                  <a:gd name="T58" fmla="*/ 684 w 1932"/>
                  <a:gd name="T59" fmla="*/ 480 h 1828"/>
                  <a:gd name="T60" fmla="*/ 684 w 1932"/>
                  <a:gd name="T61" fmla="*/ 638 h 1828"/>
                  <a:gd name="T62" fmla="*/ 147 w 1932"/>
                  <a:gd name="T63" fmla="*/ 459 h 1828"/>
                  <a:gd name="T64" fmla="*/ 127 w 1932"/>
                  <a:gd name="T65" fmla="*/ 462 h 1828"/>
                  <a:gd name="T66" fmla="*/ 118 w 1932"/>
                  <a:gd name="T67" fmla="*/ 480 h 1828"/>
                  <a:gd name="T68" fmla="*/ 118 w 1932"/>
                  <a:gd name="T69" fmla="*/ 1581 h 1828"/>
                  <a:gd name="T70" fmla="*/ 162 w 1932"/>
                  <a:gd name="T71" fmla="*/ 1581 h 1828"/>
                  <a:gd name="T72" fmla="*/ 162 w 1932"/>
                  <a:gd name="T73" fmla="*/ 510 h 1828"/>
                  <a:gd name="T74" fmla="*/ 699 w 1932"/>
                  <a:gd name="T75" fmla="*/ 689 h 1828"/>
                  <a:gd name="T76" fmla="*/ 719 w 1932"/>
                  <a:gd name="T77" fmla="*/ 686 h 1828"/>
                  <a:gd name="T78" fmla="*/ 728 w 1932"/>
                  <a:gd name="T79" fmla="*/ 668 h 1828"/>
                  <a:gd name="T80" fmla="*/ 728 w 1932"/>
                  <a:gd name="T81" fmla="*/ 510 h 1828"/>
                  <a:gd name="T82" fmla="*/ 1275 w 1932"/>
                  <a:gd name="T83" fmla="*/ 691 h 1828"/>
                  <a:gd name="T84" fmla="*/ 1282 w 1932"/>
                  <a:gd name="T85" fmla="*/ 692 h 1828"/>
                  <a:gd name="T86" fmla="*/ 1768 w 1932"/>
                  <a:gd name="T87" fmla="*/ 692 h 1828"/>
                  <a:gd name="T88" fmla="*/ 1768 w 1932"/>
                  <a:gd name="T89" fmla="*/ 1581 h 1828"/>
                  <a:gd name="T90" fmla="*/ 1812 w 1932"/>
                  <a:gd name="T91" fmla="*/ 1581 h 1828"/>
                  <a:gd name="T92" fmla="*/ 1812 w 1932"/>
                  <a:gd name="T93" fmla="*/ 670 h 18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1932" h="1828">
                    <a:moveTo>
                      <a:pt x="1687" y="15"/>
                    </a:moveTo>
                    <a:cubicBezTo>
                      <a:pt x="1735" y="587"/>
                      <a:pt x="1735" y="587"/>
                      <a:pt x="1735" y="587"/>
                    </a:cubicBezTo>
                    <a:cubicBezTo>
                      <a:pt x="1736" y="596"/>
                      <a:pt x="1728" y="604"/>
                      <a:pt x="1719" y="604"/>
                    </a:cubicBezTo>
                    <a:cubicBezTo>
                      <a:pt x="1417" y="604"/>
                      <a:pt x="1417" y="604"/>
                      <a:pt x="1417" y="604"/>
                    </a:cubicBezTo>
                    <a:cubicBezTo>
                      <a:pt x="1407" y="604"/>
                      <a:pt x="1400" y="596"/>
                      <a:pt x="1401" y="587"/>
                    </a:cubicBezTo>
                    <a:cubicBezTo>
                      <a:pt x="1449" y="15"/>
                      <a:pt x="1449" y="15"/>
                      <a:pt x="1449" y="15"/>
                    </a:cubicBezTo>
                    <a:cubicBezTo>
                      <a:pt x="1450" y="6"/>
                      <a:pt x="1457" y="0"/>
                      <a:pt x="1465" y="0"/>
                    </a:cubicBezTo>
                    <a:cubicBezTo>
                      <a:pt x="1671" y="0"/>
                      <a:pt x="1671" y="0"/>
                      <a:pt x="1671" y="0"/>
                    </a:cubicBezTo>
                    <a:cubicBezTo>
                      <a:pt x="1679" y="0"/>
                      <a:pt x="1686" y="6"/>
                      <a:pt x="1687" y="15"/>
                    </a:cubicBezTo>
                    <a:close/>
                    <a:moveTo>
                      <a:pt x="1932" y="1706"/>
                    </a:moveTo>
                    <a:cubicBezTo>
                      <a:pt x="1932" y="1806"/>
                      <a:pt x="1932" y="1806"/>
                      <a:pt x="1932" y="1806"/>
                    </a:cubicBezTo>
                    <a:cubicBezTo>
                      <a:pt x="1932" y="1818"/>
                      <a:pt x="1923" y="1828"/>
                      <a:pt x="1910" y="1828"/>
                    </a:cubicBezTo>
                    <a:cubicBezTo>
                      <a:pt x="22" y="1828"/>
                      <a:pt x="22" y="1828"/>
                      <a:pt x="22" y="1828"/>
                    </a:cubicBezTo>
                    <a:cubicBezTo>
                      <a:pt x="9" y="1828"/>
                      <a:pt x="0" y="1818"/>
                      <a:pt x="0" y="1806"/>
                    </a:cubicBezTo>
                    <a:cubicBezTo>
                      <a:pt x="0" y="1706"/>
                      <a:pt x="0" y="1706"/>
                      <a:pt x="0" y="1706"/>
                    </a:cubicBezTo>
                    <a:cubicBezTo>
                      <a:pt x="0" y="1694"/>
                      <a:pt x="9" y="1684"/>
                      <a:pt x="22" y="1684"/>
                    </a:cubicBezTo>
                    <a:cubicBezTo>
                      <a:pt x="98" y="1684"/>
                      <a:pt x="98" y="1684"/>
                      <a:pt x="98" y="1684"/>
                    </a:cubicBezTo>
                    <a:cubicBezTo>
                      <a:pt x="98" y="1647"/>
                      <a:pt x="98" y="1647"/>
                      <a:pt x="98" y="1647"/>
                    </a:cubicBezTo>
                    <a:cubicBezTo>
                      <a:pt x="98" y="1635"/>
                      <a:pt x="108" y="1625"/>
                      <a:pt x="120" y="1625"/>
                    </a:cubicBezTo>
                    <a:cubicBezTo>
                      <a:pt x="1812" y="1625"/>
                      <a:pt x="1812" y="1625"/>
                      <a:pt x="1812" y="1625"/>
                    </a:cubicBezTo>
                    <a:cubicBezTo>
                      <a:pt x="1824" y="1625"/>
                      <a:pt x="1834" y="1635"/>
                      <a:pt x="1834" y="1647"/>
                    </a:cubicBezTo>
                    <a:cubicBezTo>
                      <a:pt x="1834" y="1684"/>
                      <a:pt x="1834" y="1684"/>
                      <a:pt x="1834" y="1684"/>
                    </a:cubicBezTo>
                    <a:cubicBezTo>
                      <a:pt x="1910" y="1684"/>
                      <a:pt x="1910" y="1684"/>
                      <a:pt x="1910" y="1684"/>
                    </a:cubicBezTo>
                    <a:cubicBezTo>
                      <a:pt x="1923" y="1684"/>
                      <a:pt x="1932" y="1694"/>
                      <a:pt x="1932" y="1706"/>
                    </a:cubicBezTo>
                    <a:close/>
                    <a:moveTo>
                      <a:pt x="1812" y="670"/>
                    </a:moveTo>
                    <a:cubicBezTo>
                      <a:pt x="1812" y="658"/>
                      <a:pt x="1802" y="648"/>
                      <a:pt x="1790" y="648"/>
                    </a:cubicBezTo>
                    <a:cubicBezTo>
                      <a:pt x="1286" y="648"/>
                      <a:pt x="1286" y="648"/>
                      <a:pt x="1286" y="648"/>
                    </a:cubicBezTo>
                    <a:cubicBezTo>
                      <a:pt x="713" y="459"/>
                      <a:pt x="713" y="459"/>
                      <a:pt x="713" y="459"/>
                    </a:cubicBezTo>
                    <a:cubicBezTo>
                      <a:pt x="706" y="457"/>
                      <a:pt x="699" y="458"/>
                      <a:pt x="693" y="462"/>
                    </a:cubicBezTo>
                    <a:cubicBezTo>
                      <a:pt x="687" y="466"/>
                      <a:pt x="684" y="473"/>
                      <a:pt x="684" y="480"/>
                    </a:cubicBezTo>
                    <a:cubicBezTo>
                      <a:pt x="684" y="638"/>
                      <a:pt x="684" y="638"/>
                      <a:pt x="684" y="638"/>
                    </a:cubicBezTo>
                    <a:cubicBezTo>
                      <a:pt x="147" y="459"/>
                      <a:pt x="147" y="459"/>
                      <a:pt x="147" y="459"/>
                    </a:cubicBezTo>
                    <a:cubicBezTo>
                      <a:pt x="140" y="457"/>
                      <a:pt x="133" y="458"/>
                      <a:pt x="127" y="462"/>
                    </a:cubicBezTo>
                    <a:cubicBezTo>
                      <a:pt x="121" y="466"/>
                      <a:pt x="118" y="473"/>
                      <a:pt x="118" y="480"/>
                    </a:cubicBezTo>
                    <a:cubicBezTo>
                      <a:pt x="118" y="1581"/>
                      <a:pt x="118" y="1581"/>
                      <a:pt x="118" y="1581"/>
                    </a:cubicBezTo>
                    <a:cubicBezTo>
                      <a:pt x="162" y="1581"/>
                      <a:pt x="162" y="1581"/>
                      <a:pt x="162" y="1581"/>
                    </a:cubicBezTo>
                    <a:cubicBezTo>
                      <a:pt x="162" y="510"/>
                      <a:pt x="162" y="510"/>
                      <a:pt x="162" y="510"/>
                    </a:cubicBezTo>
                    <a:cubicBezTo>
                      <a:pt x="699" y="689"/>
                      <a:pt x="699" y="689"/>
                      <a:pt x="699" y="689"/>
                    </a:cubicBezTo>
                    <a:cubicBezTo>
                      <a:pt x="706" y="691"/>
                      <a:pt x="713" y="690"/>
                      <a:pt x="719" y="686"/>
                    </a:cubicBezTo>
                    <a:cubicBezTo>
                      <a:pt x="725" y="682"/>
                      <a:pt x="728" y="675"/>
                      <a:pt x="728" y="668"/>
                    </a:cubicBezTo>
                    <a:cubicBezTo>
                      <a:pt x="728" y="510"/>
                      <a:pt x="728" y="510"/>
                      <a:pt x="728" y="510"/>
                    </a:cubicBezTo>
                    <a:cubicBezTo>
                      <a:pt x="1275" y="691"/>
                      <a:pt x="1275" y="691"/>
                      <a:pt x="1275" y="691"/>
                    </a:cubicBezTo>
                    <a:cubicBezTo>
                      <a:pt x="1277" y="692"/>
                      <a:pt x="1280" y="692"/>
                      <a:pt x="1282" y="692"/>
                    </a:cubicBezTo>
                    <a:cubicBezTo>
                      <a:pt x="1768" y="692"/>
                      <a:pt x="1768" y="692"/>
                      <a:pt x="1768" y="692"/>
                    </a:cubicBezTo>
                    <a:cubicBezTo>
                      <a:pt x="1768" y="1581"/>
                      <a:pt x="1768" y="1581"/>
                      <a:pt x="1768" y="1581"/>
                    </a:cubicBezTo>
                    <a:cubicBezTo>
                      <a:pt x="1812" y="1581"/>
                      <a:pt x="1812" y="1581"/>
                      <a:pt x="1812" y="1581"/>
                    </a:cubicBezTo>
                    <a:lnTo>
                      <a:pt x="1812" y="670"/>
                    </a:lnTo>
                    <a:close/>
                  </a:path>
                </a:pathLst>
              </a:custGeom>
              <a:solidFill>
                <a:srgbClr val="00967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pic>
          <p:nvPicPr>
            <p:cNvPr id="2051" name="Picture 3">
              <a:extLst>
                <a:ext uri="{FF2B5EF4-FFF2-40B4-BE49-F238E27FC236}">
                  <a16:creationId xmlns:a16="http://schemas.microsoft.com/office/drawing/2014/main" id="{20D2F68B-2A27-2F19-A643-486C67139BC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clrChange>
                <a:clrFrom>
                  <a:srgbClr val="FDFDFD"/>
                </a:clrFrom>
                <a:clrTo>
                  <a:srgbClr val="FDFDFD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92295" y="4941890"/>
              <a:ext cx="1072053" cy="24929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101" name="AutoShape 3">
            <a:extLst>
              <a:ext uri="{FF2B5EF4-FFF2-40B4-BE49-F238E27FC236}">
                <a16:creationId xmlns:a16="http://schemas.microsoft.com/office/drawing/2014/main" id="{0E140722-79DC-18FE-15E0-18D489F007C7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8618823" y="1686751"/>
            <a:ext cx="909221" cy="92836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212121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00" name="Rectangle: Rounded Corners 99">
            <a:extLst>
              <a:ext uri="{FF2B5EF4-FFF2-40B4-BE49-F238E27FC236}">
                <a16:creationId xmlns:a16="http://schemas.microsoft.com/office/drawing/2014/main" id="{CF0F7424-6C67-44BB-CEF9-67FD269549B9}"/>
              </a:ext>
            </a:extLst>
          </p:cNvPr>
          <p:cNvSpPr/>
          <p:nvPr/>
        </p:nvSpPr>
        <p:spPr>
          <a:xfrm>
            <a:off x="7049943" y="3291267"/>
            <a:ext cx="1400469" cy="459283"/>
          </a:xfrm>
          <a:prstGeom prst="roundRect">
            <a:avLst/>
          </a:prstGeom>
          <a:noFill/>
          <a:ln w="9525" cap="rnd" cmpd="sng" algn="ctr">
            <a:solidFill>
              <a:srgbClr val="6E6F73"/>
            </a:solidFill>
            <a:prstDash val="dash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chemeClr val="tx2">
                    <a:lumMod val="20000"/>
                    <a:lumOff val="8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100">
              <a:solidFill>
                <a:srgbClr val="FFFFFF"/>
              </a:solidFill>
              <a:latin typeface="+mj-lt"/>
            </a:endParaRPr>
          </a:p>
        </p:txBody>
      </p:sp>
      <p:grpSp>
        <p:nvGrpSpPr>
          <p:cNvPr id="153" name="Gruppo 152">
            <a:extLst>
              <a:ext uri="{FF2B5EF4-FFF2-40B4-BE49-F238E27FC236}">
                <a16:creationId xmlns:a16="http://schemas.microsoft.com/office/drawing/2014/main" id="{90EB63F5-ACB9-D09F-145B-1A58A6DAF31A}"/>
              </a:ext>
            </a:extLst>
          </p:cNvPr>
          <p:cNvGrpSpPr/>
          <p:nvPr/>
        </p:nvGrpSpPr>
        <p:grpSpPr>
          <a:xfrm>
            <a:off x="7110977" y="3367157"/>
            <a:ext cx="1261193" cy="210514"/>
            <a:chOff x="9263063" y="6067698"/>
            <a:chExt cx="1261193" cy="210514"/>
          </a:xfrm>
        </p:grpSpPr>
        <p:sp>
          <p:nvSpPr>
            <p:cNvPr id="152" name="Rettangolo 151">
              <a:extLst>
                <a:ext uri="{FF2B5EF4-FFF2-40B4-BE49-F238E27FC236}">
                  <a16:creationId xmlns:a16="http://schemas.microsoft.com/office/drawing/2014/main" id="{3EE8C8B2-1415-83E9-35F4-942CB3E4CF5F}"/>
                </a:ext>
              </a:extLst>
            </p:cNvPr>
            <p:cNvSpPr/>
            <p:nvPr/>
          </p:nvSpPr>
          <p:spPr>
            <a:xfrm>
              <a:off x="9340534" y="6190538"/>
              <a:ext cx="1104371" cy="65005"/>
            </a:xfrm>
            <a:prstGeom prst="rect">
              <a:avLst/>
            </a:prstGeom>
            <a:solidFill>
              <a:srgbClr val="6E6F73"/>
            </a:solidFill>
            <a:ln w="158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69816" tIns="34908" rIns="69816" bIns="34908" numCol="1" anchor="t" anchorCtr="0" compatLnSpc="1">
              <a:prstTxWarp prst="textNoShape">
                <a:avLst/>
              </a:prstTxWarp>
            </a:bodyPr>
            <a:lstStyle/>
            <a:p>
              <a:endParaRPr lang="it-IT" sz="1200" kern="0">
                <a:solidFill>
                  <a:srgbClr val="000000"/>
                </a:solidFill>
                <a:latin typeface="+mj-lt"/>
              </a:endParaRPr>
            </a:p>
          </p:txBody>
        </p:sp>
        <p:sp>
          <p:nvSpPr>
            <p:cNvPr id="135" name="Freeform 82">
              <a:extLst>
                <a:ext uri="{FF2B5EF4-FFF2-40B4-BE49-F238E27FC236}">
                  <a16:creationId xmlns:a16="http://schemas.microsoft.com/office/drawing/2014/main" id="{E72014BC-D262-571B-93C3-D7A787C8C328}"/>
                </a:ext>
              </a:extLst>
            </p:cNvPr>
            <p:cNvSpPr>
              <a:spLocks/>
            </p:cNvSpPr>
            <p:nvPr/>
          </p:nvSpPr>
          <p:spPr bwMode="auto">
            <a:xfrm>
              <a:off x="9688883" y="6067698"/>
              <a:ext cx="407675" cy="200275"/>
            </a:xfrm>
            <a:custGeom>
              <a:avLst/>
              <a:gdLst>
                <a:gd name="T0" fmla="*/ 824 w 1194"/>
                <a:gd name="T1" fmla="*/ 356 h 657"/>
                <a:gd name="T2" fmla="*/ 824 w 1194"/>
                <a:gd name="T3" fmla="*/ 214 h 657"/>
                <a:gd name="T4" fmla="*/ 802 w 1194"/>
                <a:gd name="T5" fmla="*/ 192 h 657"/>
                <a:gd name="T6" fmla="*/ 618 w 1194"/>
                <a:gd name="T7" fmla="*/ 192 h 657"/>
                <a:gd name="T8" fmla="*/ 618 w 1194"/>
                <a:gd name="T9" fmla="*/ 191 h 657"/>
                <a:gd name="T10" fmla="*/ 618 w 1194"/>
                <a:gd name="T11" fmla="*/ 104 h 657"/>
                <a:gd name="T12" fmla="*/ 724 w 1194"/>
                <a:gd name="T13" fmla="*/ 104 h 657"/>
                <a:gd name="T14" fmla="*/ 746 w 1194"/>
                <a:gd name="T15" fmla="*/ 82 h 657"/>
                <a:gd name="T16" fmla="*/ 746 w 1194"/>
                <a:gd name="T17" fmla="*/ 67 h 657"/>
                <a:gd name="T18" fmla="*/ 724 w 1194"/>
                <a:gd name="T19" fmla="*/ 45 h 657"/>
                <a:gd name="T20" fmla="*/ 618 w 1194"/>
                <a:gd name="T21" fmla="*/ 45 h 657"/>
                <a:gd name="T22" fmla="*/ 618 w 1194"/>
                <a:gd name="T23" fmla="*/ 22 h 657"/>
                <a:gd name="T24" fmla="*/ 596 w 1194"/>
                <a:gd name="T25" fmla="*/ 0 h 657"/>
                <a:gd name="T26" fmla="*/ 576 w 1194"/>
                <a:gd name="T27" fmla="*/ 0 h 657"/>
                <a:gd name="T28" fmla="*/ 554 w 1194"/>
                <a:gd name="T29" fmla="*/ 22 h 657"/>
                <a:gd name="T30" fmla="*/ 554 w 1194"/>
                <a:gd name="T31" fmla="*/ 45 h 657"/>
                <a:gd name="T32" fmla="*/ 448 w 1194"/>
                <a:gd name="T33" fmla="*/ 45 h 657"/>
                <a:gd name="T34" fmla="*/ 426 w 1194"/>
                <a:gd name="T35" fmla="*/ 67 h 657"/>
                <a:gd name="T36" fmla="*/ 426 w 1194"/>
                <a:gd name="T37" fmla="*/ 82 h 657"/>
                <a:gd name="T38" fmla="*/ 448 w 1194"/>
                <a:gd name="T39" fmla="*/ 104 h 657"/>
                <a:gd name="T40" fmla="*/ 554 w 1194"/>
                <a:gd name="T41" fmla="*/ 104 h 657"/>
                <a:gd name="T42" fmla="*/ 554 w 1194"/>
                <a:gd name="T43" fmla="*/ 191 h 657"/>
                <a:gd name="T44" fmla="*/ 554 w 1194"/>
                <a:gd name="T45" fmla="*/ 192 h 657"/>
                <a:gd name="T46" fmla="*/ 371 w 1194"/>
                <a:gd name="T47" fmla="*/ 192 h 657"/>
                <a:gd name="T48" fmla="*/ 349 w 1194"/>
                <a:gd name="T49" fmla="*/ 214 h 657"/>
                <a:gd name="T50" fmla="*/ 349 w 1194"/>
                <a:gd name="T51" fmla="*/ 356 h 657"/>
                <a:gd name="T52" fmla="*/ 0 w 1194"/>
                <a:gd name="T53" fmla="*/ 356 h 657"/>
                <a:gd name="T54" fmla="*/ 0 w 1194"/>
                <a:gd name="T55" fmla="*/ 657 h 657"/>
                <a:gd name="T56" fmla="*/ 1194 w 1194"/>
                <a:gd name="T57" fmla="*/ 657 h 657"/>
                <a:gd name="T58" fmla="*/ 1194 w 1194"/>
                <a:gd name="T59" fmla="*/ 356 h 657"/>
                <a:gd name="T60" fmla="*/ 824 w 1194"/>
                <a:gd name="T61" fmla="*/ 356 h 6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194" h="657">
                  <a:moveTo>
                    <a:pt x="824" y="356"/>
                  </a:moveTo>
                  <a:cubicBezTo>
                    <a:pt x="824" y="214"/>
                    <a:pt x="824" y="214"/>
                    <a:pt x="824" y="214"/>
                  </a:cubicBezTo>
                  <a:cubicBezTo>
                    <a:pt x="824" y="202"/>
                    <a:pt x="814" y="192"/>
                    <a:pt x="802" y="192"/>
                  </a:cubicBezTo>
                  <a:cubicBezTo>
                    <a:pt x="618" y="192"/>
                    <a:pt x="618" y="192"/>
                    <a:pt x="618" y="192"/>
                  </a:cubicBezTo>
                  <a:cubicBezTo>
                    <a:pt x="618" y="192"/>
                    <a:pt x="618" y="192"/>
                    <a:pt x="618" y="191"/>
                  </a:cubicBezTo>
                  <a:cubicBezTo>
                    <a:pt x="618" y="104"/>
                    <a:pt x="618" y="104"/>
                    <a:pt x="618" y="104"/>
                  </a:cubicBezTo>
                  <a:cubicBezTo>
                    <a:pt x="724" y="104"/>
                    <a:pt x="724" y="104"/>
                    <a:pt x="724" y="104"/>
                  </a:cubicBezTo>
                  <a:cubicBezTo>
                    <a:pt x="736" y="104"/>
                    <a:pt x="746" y="94"/>
                    <a:pt x="746" y="82"/>
                  </a:cubicBezTo>
                  <a:cubicBezTo>
                    <a:pt x="746" y="67"/>
                    <a:pt x="746" y="67"/>
                    <a:pt x="746" y="67"/>
                  </a:cubicBezTo>
                  <a:cubicBezTo>
                    <a:pt x="746" y="55"/>
                    <a:pt x="736" y="45"/>
                    <a:pt x="724" y="45"/>
                  </a:cubicBezTo>
                  <a:cubicBezTo>
                    <a:pt x="618" y="45"/>
                    <a:pt x="618" y="45"/>
                    <a:pt x="618" y="45"/>
                  </a:cubicBezTo>
                  <a:cubicBezTo>
                    <a:pt x="618" y="22"/>
                    <a:pt x="618" y="22"/>
                    <a:pt x="618" y="22"/>
                  </a:cubicBezTo>
                  <a:cubicBezTo>
                    <a:pt x="618" y="10"/>
                    <a:pt x="608" y="0"/>
                    <a:pt x="596" y="0"/>
                  </a:cubicBezTo>
                  <a:cubicBezTo>
                    <a:pt x="576" y="0"/>
                    <a:pt x="576" y="0"/>
                    <a:pt x="576" y="0"/>
                  </a:cubicBezTo>
                  <a:cubicBezTo>
                    <a:pt x="564" y="0"/>
                    <a:pt x="554" y="10"/>
                    <a:pt x="554" y="22"/>
                  </a:cubicBezTo>
                  <a:cubicBezTo>
                    <a:pt x="554" y="45"/>
                    <a:pt x="554" y="45"/>
                    <a:pt x="554" y="45"/>
                  </a:cubicBezTo>
                  <a:cubicBezTo>
                    <a:pt x="448" y="45"/>
                    <a:pt x="448" y="45"/>
                    <a:pt x="448" y="45"/>
                  </a:cubicBezTo>
                  <a:cubicBezTo>
                    <a:pt x="436" y="45"/>
                    <a:pt x="426" y="55"/>
                    <a:pt x="426" y="67"/>
                  </a:cubicBezTo>
                  <a:cubicBezTo>
                    <a:pt x="426" y="82"/>
                    <a:pt x="426" y="82"/>
                    <a:pt x="426" y="82"/>
                  </a:cubicBezTo>
                  <a:cubicBezTo>
                    <a:pt x="426" y="94"/>
                    <a:pt x="436" y="104"/>
                    <a:pt x="448" y="104"/>
                  </a:cubicBezTo>
                  <a:cubicBezTo>
                    <a:pt x="554" y="104"/>
                    <a:pt x="554" y="104"/>
                    <a:pt x="554" y="104"/>
                  </a:cubicBezTo>
                  <a:cubicBezTo>
                    <a:pt x="554" y="191"/>
                    <a:pt x="554" y="191"/>
                    <a:pt x="554" y="191"/>
                  </a:cubicBezTo>
                  <a:cubicBezTo>
                    <a:pt x="554" y="192"/>
                    <a:pt x="554" y="192"/>
                    <a:pt x="554" y="192"/>
                  </a:cubicBezTo>
                  <a:cubicBezTo>
                    <a:pt x="371" y="192"/>
                    <a:pt x="371" y="192"/>
                    <a:pt x="371" y="192"/>
                  </a:cubicBezTo>
                  <a:cubicBezTo>
                    <a:pt x="359" y="192"/>
                    <a:pt x="349" y="202"/>
                    <a:pt x="349" y="214"/>
                  </a:cubicBezTo>
                  <a:cubicBezTo>
                    <a:pt x="349" y="356"/>
                    <a:pt x="349" y="356"/>
                    <a:pt x="349" y="356"/>
                  </a:cubicBezTo>
                  <a:cubicBezTo>
                    <a:pt x="0" y="356"/>
                    <a:pt x="0" y="356"/>
                    <a:pt x="0" y="356"/>
                  </a:cubicBezTo>
                  <a:cubicBezTo>
                    <a:pt x="0" y="657"/>
                    <a:pt x="0" y="657"/>
                    <a:pt x="0" y="657"/>
                  </a:cubicBezTo>
                  <a:cubicBezTo>
                    <a:pt x="1194" y="657"/>
                    <a:pt x="1194" y="657"/>
                    <a:pt x="1194" y="657"/>
                  </a:cubicBezTo>
                  <a:cubicBezTo>
                    <a:pt x="1194" y="356"/>
                    <a:pt x="1194" y="356"/>
                    <a:pt x="1194" y="356"/>
                  </a:cubicBezTo>
                  <a:lnTo>
                    <a:pt x="824" y="356"/>
                  </a:lnTo>
                  <a:close/>
                </a:path>
              </a:pathLst>
            </a:custGeom>
            <a:solidFill>
              <a:srgbClr val="6E6F73"/>
            </a:solidFill>
            <a:ln w="158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69816" tIns="34908" rIns="69816" bIns="34908" numCol="1" anchor="t" anchorCtr="0" compatLnSpc="1">
              <a:prstTxWarp prst="textNoShape">
                <a:avLst/>
              </a:prstTxWarp>
            </a:bodyPr>
            <a:lstStyle/>
            <a:p>
              <a:endParaRPr lang="it-IT" sz="1200" kern="0">
                <a:solidFill>
                  <a:srgbClr val="000000"/>
                </a:solidFill>
                <a:latin typeface="+mj-lt"/>
              </a:endParaRPr>
            </a:p>
          </p:txBody>
        </p:sp>
        <p:sp>
          <p:nvSpPr>
            <p:cNvPr id="136" name="Freeform 6">
              <a:extLst>
                <a:ext uri="{FF2B5EF4-FFF2-40B4-BE49-F238E27FC236}">
                  <a16:creationId xmlns:a16="http://schemas.microsoft.com/office/drawing/2014/main" id="{BC1C1C0A-680A-D3C5-DCE0-43918B580E22}"/>
                </a:ext>
              </a:extLst>
            </p:cNvPr>
            <p:cNvSpPr>
              <a:spLocks/>
            </p:cNvSpPr>
            <p:nvPr/>
          </p:nvSpPr>
          <p:spPr bwMode="auto">
            <a:xfrm>
              <a:off x="9263063" y="6167868"/>
              <a:ext cx="1261193" cy="110344"/>
            </a:xfrm>
            <a:custGeom>
              <a:avLst/>
              <a:gdLst>
                <a:gd name="connsiteX0" fmla="*/ 1018917 w 1090612"/>
                <a:gd name="connsiteY0" fmla="*/ 0 h 331788"/>
                <a:gd name="connsiteX1" fmla="*/ 1074995 w 1090612"/>
                <a:gd name="connsiteY1" fmla="*/ 0 h 331788"/>
                <a:gd name="connsiteX2" fmla="*/ 1090612 w 1090612"/>
                <a:gd name="connsiteY2" fmla="*/ 15731 h 331788"/>
                <a:gd name="connsiteX3" fmla="*/ 1090612 w 1090612"/>
                <a:gd name="connsiteY3" fmla="*/ 316057 h 331788"/>
                <a:gd name="connsiteX4" fmla="*/ 1074995 w 1090612"/>
                <a:gd name="connsiteY4" fmla="*/ 331788 h 331788"/>
                <a:gd name="connsiteX5" fmla="*/ 1018917 w 1090612"/>
                <a:gd name="connsiteY5" fmla="*/ 331788 h 331788"/>
                <a:gd name="connsiteX6" fmla="*/ 1003300 w 1090612"/>
                <a:gd name="connsiteY6" fmla="*/ 316057 h 331788"/>
                <a:gd name="connsiteX7" fmla="*/ 1003300 w 1090612"/>
                <a:gd name="connsiteY7" fmla="*/ 273153 h 331788"/>
                <a:gd name="connsiteX8" fmla="*/ 1003300 w 1090612"/>
                <a:gd name="connsiteY8" fmla="*/ 57920 h 331788"/>
                <a:gd name="connsiteX9" fmla="*/ 1003300 w 1090612"/>
                <a:gd name="connsiteY9" fmla="*/ 15731 h 331788"/>
                <a:gd name="connsiteX10" fmla="*/ 1018917 w 1090612"/>
                <a:gd name="connsiteY10" fmla="*/ 0 h 331788"/>
                <a:gd name="connsiteX11" fmla="*/ 15617 w 1090612"/>
                <a:gd name="connsiteY11" fmla="*/ 0 h 331788"/>
                <a:gd name="connsiteX12" fmla="*/ 71695 w 1090612"/>
                <a:gd name="connsiteY12" fmla="*/ 0 h 331788"/>
                <a:gd name="connsiteX13" fmla="*/ 87312 w 1090612"/>
                <a:gd name="connsiteY13" fmla="*/ 15731 h 331788"/>
                <a:gd name="connsiteX14" fmla="*/ 87312 w 1090612"/>
                <a:gd name="connsiteY14" fmla="*/ 57920 h 331788"/>
                <a:gd name="connsiteX15" fmla="*/ 87312 w 1090612"/>
                <a:gd name="connsiteY15" fmla="*/ 273153 h 331788"/>
                <a:gd name="connsiteX16" fmla="*/ 87312 w 1090612"/>
                <a:gd name="connsiteY16" fmla="*/ 316057 h 331788"/>
                <a:gd name="connsiteX17" fmla="*/ 71695 w 1090612"/>
                <a:gd name="connsiteY17" fmla="*/ 331788 h 331788"/>
                <a:gd name="connsiteX18" fmla="*/ 15617 w 1090612"/>
                <a:gd name="connsiteY18" fmla="*/ 331788 h 331788"/>
                <a:gd name="connsiteX19" fmla="*/ 0 w 1090612"/>
                <a:gd name="connsiteY19" fmla="*/ 316057 h 331788"/>
                <a:gd name="connsiteX20" fmla="*/ 0 w 1090612"/>
                <a:gd name="connsiteY20" fmla="*/ 15731 h 331788"/>
                <a:gd name="connsiteX21" fmla="*/ 15617 w 1090612"/>
                <a:gd name="connsiteY21" fmla="*/ 0 h 3317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090612" h="331788">
                  <a:moveTo>
                    <a:pt x="1018917" y="0"/>
                  </a:moveTo>
                  <a:cubicBezTo>
                    <a:pt x="1018917" y="0"/>
                    <a:pt x="1018917" y="0"/>
                    <a:pt x="1074995" y="0"/>
                  </a:cubicBezTo>
                  <a:cubicBezTo>
                    <a:pt x="1083514" y="0"/>
                    <a:pt x="1090612" y="7151"/>
                    <a:pt x="1090612" y="15731"/>
                  </a:cubicBezTo>
                  <a:cubicBezTo>
                    <a:pt x="1090612" y="15731"/>
                    <a:pt x="1090612" y="15731"/>
                    <a:pt x="1090612" y="316057"/>
                  </a:cubicBezTo>
                  <a:cubicBezTo>
                    <a:pt x="1090612" y="324638"/>
                    <a:pt x="1083514" y="331788"/>
                    <a:pt x="1074995" y="331788"/>
                  </a:cubicBezTo>
                  <a:cubicBezTo>
                    <a:pt x="1074995" y="331788"/>
                    <a:pt x="1074995" y="331788"/>
                    <a:pt x="1018917" y="331788"/>
                  </a:cubicBezTo>
                  <a:cubicBezTo>
                    <a:pt x="1010399" y="331788"/>
                    <a:pt x="1003300" y="324638"/>
                    <a:pt x="1003300" y="316057"/>
                  </a:cubicBezTo>
                  <a:cubicBezTo>
                    <a:pt x="1003300" y="316057"/>
                    <a:pt x="1003300" y="316057"/>
                    <a:pt x="1003300" y="273153"/>
                  </a:cubicBezTo>
                  <a:cubicBezTo>
                    <a:pt x="1003300" y="273153"/>
                    <a:pt x="1003300" y="273153"/>
                    <a:pt x="1003300" y="57920"/>
                  </a:cubicBezTo>
                  <a:cubicBezTo>
                    <a:pt x="1003300" y="57920"/>
                    <a:pt x="1003300" y="57920"/>
                    <a:pt x="1003300" y="15731"/>
                  </a:cubicBezTo>
                  <a:cubicBezTo>
                    <a:pt x="1003300" y="7151"/>
                    <a:pt x="1010399" y="0"/>
                    <a:pt x="1018917" y="0"/>
                  </a:cubicBezTo>
                  <a:close/>
                  <a:moveTo>
                    <a:pt x="15617" y="0"/>
                  </a:moveTo>
                  <a:cubicBezTo>
                    <a:pt x="15617" y="0"/>
                    <a:pt x="15617" y="0"/>
                    <a:pt x="71695" y="0"/>
                  </a:cubicBezTo>
                  <a:cubicBezTo>
                    <a:pt x="80213" y="0"/>
                    <a:pt x="87312" y="7151"/>
                    <a:pt x="87312" y="15731"/>
                  </a:cubicBezTo>
                  <a:cubicBezTo>
                    <a:pt x="87312" y="15731"/>
                    <a:pt x="87312" y="15731"/>
                    <a:pt x="87312" y="57920"/>
                  </a:cubicBezTo>
                  <a:cubicBezTo>
                    <a:pt x="87312" y="57920"/>
                    <a:pt x="87312" y="57920"/>
                    <a:pt x="87312" y="273153"/>
                  </a:cubicBezTo>
                  <a:cubicBezTo>
                    <a:pt x="87312" y="273153"/>
                    <a:pt x="87312" y="273153"/>
                    <a:pt x="87312" y="316057"/>
                  </a:cubicBezTo>
                  <a:cubicBezTo>
                    <a:pt x="87312" y="324638"/>
                    <a:pt x="80213" y="331788"/>
                    <a:pt x="71695" y="331788"/>
                  </a:cubicBezTo>
                  <a:cubicBezTo>
                    <a:pt x="71695" y="331788"/>
                    <a:pt x="71695" y="331788"/>
                    <a:pt x="15617" y="331788"/>
                  </a:cubicBezTo>
                  <a:cubicBezTo>
                    <a:pt x="7098" y="331788"/>
                    <a:pt x="0" y="324638"/>
                    <a:pt x="0" y="316057"/>
                  </a:cubicBezTo>
                  <a:cubicBezTo>
                    <a:pt x="0" y="316057"/>
                    <a:pt x="0" y="316057"/>
                    <a:pt x="0" y="15731"/>
                  </a:cubicBezTo>
                  <a:cubicBezTo>
                    <a:pt x="0" y="7151"/>
                    <a:pt x="7098" y="0"/>
                    <a:pt x="15617" y="0"/>
                  </a:cubicBezTo>
                  <a:close/>
                </a:path>
              </a:pathLst>
            </a:custGeom>
            <a:solidFill>
              <a:schemeClr val="tx1"/>
            </a:solidFill>
            <a:ln w="158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69816" tIns="34908" rIns="69816" bIns="34908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it-IT" sz="1200" kern="0">
                <a:solidFill>
                  <a:srgbClr val="000000"/>
                </a:solidFill>
                <a:latin typeface="+mj-lt"/>
              </a:endParaRPr>
            </a:p>
          </p:txBody>
        </p:sp>
      </p:grpSp>
      <p:pic>
        <p:nvPicPr>
          <p:cNvPr id="168" name="Picture 2">
            <a:extLst>
              <a:ext uri="{FF2B5EF4-FFF2-40B4-BE49-F238E27FC236}">
                <a16:creationId xmlns:a16="http://schemas.microsoft.com/office/drawing/2014/main" id="{6D98B36E-B2F8-642E-D03C-975455D75BE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20941" y="2324920"/>
            <a:ext cx="338438" cy="4209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0" name="Picture 45" descr="See the source image">
            <a:extLst>
              <a:ext uri="{FF2B5EF4-FFF2-40B4-BE49-F238E27FC236}">
                <a16:creationId xmlns:a16="http://schemas.microsoft.com/office/drawing/2014/main" id="{3DE11CB1-CA74-D571-E8AC-3336B3B33FF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11509" y="5424560"/>
            <a:ext cx="1104371" cy="5093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6" name="Picture 2">
            <a:extLst>
              <a:ext uri="{FF2B5EF4-FFF2-40B4-BE49-F238E27FC236}">
                <a16:creationId xmlns:a16="http://schemas.microsoft.com/office/drawing/2014/main" id="{0772D45F-ECDA-56CA-3E5C-3C87DB0AC9C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55514" y="2273840"/>
            <a:ext cx="563560" cy="5231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3" name="TextBox 172">
            <a:extLst>
              <a:ext uri="{FF2B5EF4-FFF2-40B4-BE49-F238E27FC236}">
                <a16:creationId xmlns:a16="http://schemas.microsoft.com/office/drawing/2014/main" id="{25DF5E1A-ABC8-65B2-89F2-8DF92C9F6CC2}"/>
              </a:ext>
            </a:extLst>
          </p:cNvPr>
          <p:cNvSpPr txBox="1"/>
          <p:nvPr/>
        </p:nvSpPr>
        <p:spPr>
          <a:xfrm>
            <a:off x="6930103" y="2821321"/>
            <a:ext cx="1617792" cy="429682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it-IT" sz="1400" i="1">
                <a:solidFill>
                  <a:schemeClr val="tx1"/>
                </a:solidFill>
                <a:latin typeface="+mj-lt"/>
              </a:rPr>
              <a:t>Rete di Trasporto</a:t>
            </a:r>
            <a:br>
              <a:rPr lang="it-IT" sz="1400" i="1">
                <a:solidFill>
                  <a:schemeClr val="tx1"/>
                </a:solidFill>
                <a:latin typeface="+mj-lt"/>
              </a:rPr>
            </a:br>
            <a:r>
              <a:rPr lang="it-IT" sz="1400" i="1">
                <a:solidFill>
                  <a:schemeClr val="tx1"/>
                </a:solidFill>
                <a:latin typeface="+mj-lt"/>
              </a:rPr>
              <a:t>Ferrara - Ravenna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DE8CA4CE-AB3F-403C-A7B4-E290136880F5}"/>
              </a:ext>
            </a:extLst>
          </p:cNvPr>
          <p:cNvSpPr txBox="1"/>
          <p:nvPr/>
        </p:nvSpPr>
        <p:spPr>
          <a:xfrm>
            <a:off x="1515141" y="2798980"/>
            <a:ext cx="1371119" cy="350617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it-IT" sz="1400" i="1">
                <a:solidFill>
                  <a:schemeClr val="tx1"/>
                </a:solidFill>
                <a:latin typeface="+mj-lt"/>
              </a:rPr>
              <a:t>Termovalorizzatore</a:t>
            </a:r>
          </a:p>
        </p:txBody>
      </p:sp>
      <p:sp>
        <p:nvSpPr>
          <p:cNvPr id="115" name="Rectangle 114">
            <a:extLst>
              <a:ext uri="{FF2B5EF4-FFF2-40B4-BE49-F238E27FC236}">
                <a16:creationId xmlns:a16="http://schemas.microsoft.com/office/drawing/2014/main" id="{AE53EB5C-F0E3-58CB-0DDE-51C94584A900}"/>
              </a:ext>
            </a:extLst>
          </p:cNvPr>
          <p:cNvSpPr/>
          <p:nvPr/>
        </p:nvSpPr>
        <p:spPr>
          <a:xfrm>
            <a:off x="9798025" y="2220040"/>
            <a:ext cx="1028510" cy="869278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1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grpSp>
        <p:nvGrpSpPr>
          <p:cNvPr id="176" name="Group 175">
            <a:extLst>
              <a:ext uri="{FF2B5EF4-FFF2-40B4-BE49-F238E27FC236}">
                <a16:creationId xmlns:a16="http://schemas.microsoft.com/office/drawing/2014/main" id="{66AD9034-6F22-BA53-895B-59203176D5D9}"/>
              </a:ext>
            </a:extLst>
          </p:cNvPr>
          <p:cNvGrpSpPr>
            <a:grpSpLocks noChangeAspect="1"/>
          </p:cNvGrpSpPr>
          <p:nvPr/>
        </p:nvGrpSpPr>
        <p:grpSpPr>
          <a:xfrm rot="5400000">
            <a:off x="10221144" y="3054569"/>
            <a:ext cx="871208" cy="938572"/>
            <a:chOff x="5273675" y="2606675"/>
            <a:chExt cx="1646238" cy="1646238"/>
          </a:xfrm>
        </p:grpSpPr>
        <p:sp>
          <p:nvSpPr>
            <p:cNvPr id="177" name="AutoShape 3">
              <a:extLst>
                <a:ext uri="{FF2B5EF4-FFF2-40B4-BE49-F238E27FC236}">
                  <a16:creationId xmlns:a16="http://schemas.microsoft.com/office/drawing/2014/main" id="{4C793508-32EF-B3F8-89E1-BC1BF2AF5ECF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5273675" y="2606675"/>
              <a:ext cx="1646238" cy="16462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000" b="0" i="0" u="none" strike="noStrike" kern="1200" cap="none" spc="0" normalizeH="0" baseline="0" noProof="0">
                <a:ln>
                  <a:noFill/>
                </a:ln>
                <a:solidFill>
                  <a:srgbClr val="21212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grpSp>
          <p:nvGrpSpPr>
            <p:cNvPr id="178" name="Group 177">
              <a:extLst>
                <a:ext uri="{FF2B5EF4-FFF2-40B4-BE49-F238E27FC236}">
                  <a16:creationId xmlns:a16="http://schemas.microsoft.com/office/drawing/2014/main" id="{BEFC2CC8-B992-D647-28BA-7C657849DA40}"/>
                </a:ext>
              </a:extLst>
            </p:cNvPr>
            <p:cNvGrpSpPr/>
            <p:nvPr/>
          </p:nvGrpSpPr>
          <p:grpSpPr>
            <a:xfrm>
              <a:off x="5426789" y="2764126"/>
              <a:ext cx="1337548" cy="1334799"/>
              <a:chOff x="5426789" y="2764126"/>
              <a:chExt cx="1337548" cy="1334799"/>
            </a:xfrm>
          </p:grpSpPr>
          <p:sp>
            <p:nvSpPr>
              <p:cNvPr id="179" name="Freeform 19">
                <a:extLst>
                  <a:ext uri="{FF2B5EF4-FFF2-40B4-BE49-F238E27FC236}">
                    <a16:creationId xmlns:a16="http://schemas.microsoft.com/office/drawing/2014/main" id="{0FD31011-D799-08EA-B52B-AA60565C393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931059" y="3354388"/>
                <a:ext cx="644366" cy="636588"/>
              </a:xfrm>
              <a:custGeom>
                <a:avLst/>
                <a:gdLst>
                  <a:gd name="connsiteX0" fmla="*/ 324326 w 644366"/>
                  <a:gd name="connsiteY0" fmla="*/ 0 h 636588"/>
                  <a:gd name="connsiteX1" fmla="*/ 437912 w 644366"/>
                  <a:gd name="connsiteY1" fmla="*/ 62089 h 636588"/>
                  <a:gd name="connsiteX2" fmla="*/ 554355 w 644366"/>
                  <a:gd name="connsiteY2" fmla="*/ 150583 h 636588"/>
                  <a:gd name="connsiteX3" fmla="*/ 534352 w 644366"/>
                  <a:gd name="connsiteY3" fmla="*/ 199112 h 636588"/>
                  <a:gd name="connsiteX4" fmla="*/ 528637 w 644366"/>
                  <a:gd name="connsiteY4" fmla="*/ 220522 h 636588"/>
                  <a:gd name="connsiteX5" fmla="*/ 585073 w 644366"/>
                  <a:gd name="connsiteY5" fmla="*/ 323290 h 636588"/>
                  <a:gd name="connsiteX6" fmla="*/ 644366 w 644366"/>
                  <a:gd name="connsiteY6" fmla="*/ 438190 h 636588"/>
                  <a:gd name="connsiteX7" fmla="*/ 523637 w 644366"/>
                  <a:gd name="connsiteY7" fmla="*/ 557371 h 636588"/>
                  <a:gd name="connsiteX8" fmla="*/ 521494 w 644366"/>
                  <a:gd name="connsiteY8" fmla="*/ 576640 h 636588"/>
                  <a:gd name="connsiteX9" fmla="*/ 555784 w 644366"/>
                  <a:gd name="connsiteY9" fmla="*/ 636588 h 636588"/>
                  <a:gd name="connsiteX10" fmla="*/ 444341 w 644366"/>
                  <a:gd name="connsiteY10" fmla="*/ 628738 h 636588"/>
                  <a:gd name="connsiteX11" fmla="*/ 442912 w 644366"/>
                  <a:gd name="connsiteY11" fmla="*/ 628738 h 636588"/>
                  <a:gd name="connsiteX12" fmla="*/ 37862 w 644366"/>
                  <a:gd name="connsiteY12" fmla="*/ 628738 h 636588"/>
                  <a:gd name="connsiteX13" fmla="*/ 0 w 644366"/>
                  <a:gd name="connsiteY13" fmla="*/ 522402 h 636588"/>
                  <a:gd name="connsiteX14" fmla="*/ 56436 w 644366"/>
                  <a:gd name="connsiteY14" fmla="*/ 461027 h 636588"/>
                  <a:gd name="connsiteX15" fmla="*/ 57244 w 644366"/>
                  <a:gd name="connsiteY15" fmla="*/ 454025 h 636588"/>
                  <a:gd name="connsiteX16" fmla="*/ 447890 w 644366"/>
                  <a:gd name="connsiteY16" fmla="*/ 454025 h 636588"/>
                  <a:gd name="connsiteX17" fmla="*/ 495141 w 644366"/>
                  <a:gd name="connsiteY17" fmla="*/ 406812 h 636588"/>
                  <a:gd name="connsiteX18" fmla="*/ 495141 w 644366"/>
                  <a:gd name="connsiteY18" fmla="*/ 269464 h 636588"/>
                  <a:gd name="connsiteX19" fmla="*/ 447890 w 644366"/>
                  <a:gd name="connsiteY19" fmla="*/ 222250 h 636588"/>
                  <a:gd name="connsiteX20" fmla="*/ 70910 w 644366"/>
                  <a:gd name="connsiteY20" fmla="*/ 222250 h 636588"/>
                  <a:gd name="connsiteX21" fmla="*/ 5792 w 644366"/>
                  <a:gd name="connsiteY21" fmla="*/ 222250 h 636588"/>
                  <a:gd name="connsiteX22" fmla="*/ 30004 w 644366"/>
                  <a:gd name="connsiteY22" fmla="*/ 195544 h 636588"/>
                  <a:gd name="connsiteX23" fmla="*/ 102156 w 644366"/>
                  <a:gd name="connsiteY23" fmla="*/ 114186 h 636588"/>
                  <a:gd name="connsiteX24" fmla="*/ 106442 w 644366"/>
                  <a:gd name="connsiteY24" fmla="*/ 104909 h 636588"/>
                  <a:gd name="connsiteX25" fmla="*/ 114300 w 644366"/>
                  <a:gd name="connsiteY25" fmla="*/ 29260 h 636588"/>
                  <a:gd name="connsiteX26" fmla="*/ 324326 w 644366"/>
                  <a:gd name="connsiteY26" fmla="*/ 0 h 6365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644366" h="636588">
                    <a:moveTo>
                      <a:pt x="324326" y="0"/>
                    </a:moveTo>
                    <a:cubicBezTo>
                      <a:pt x="339328" y="7850"/>
                      <a:pt x="388620" y="32829"/>
                      <a:pt x="437912" y="62089"/>
                    </a:cubicBezTo>
                    <a:cubicBezTo>
                      <a:pt x="547211" y="127032"/>
                      <a:pt x="553641" y="148442"/>
                      <a:pt x="554355" y="150583"/>
                    </a:cubicBezTo>
                    <a:cubicBezTo>
                      <a:pt x="556498" y="185553"/>
                      <a:pt x="535067" y="199112"/>
                      <a:pt x="534352" y="199112"/>
                    </a:cubicBezTo>
                    <a:cubicBezTo>
                      <a:pt x="527209" y="203394"/>
                      <a:pt x="524351" y="213386"/>
                      <a:pt x="528637" y="220522"/>
                    </a:cubicBezTo>
                    <a:cubicBezTo>
                      <a:pt x="528637" y="220522"/>
                      <a:pt x="528637" y="220522"/>
                      <a:pt x="585073" y="323290"/>
                    </a:cubicBezTo>
                    <a:cubicBezTo>
                      <a:pt x="585073" y="323290"/>
                      <a:pt x="585073" y="323290"/>
                      <a:pt x="644366" y="438190"/>
                    </a:cubicBezTo>
                    <a:cubicBezTo>
                      <a:pt x="644366" y="438190"/>
                      <a:pt x="644366" y="438190"/>
                      <a:pt x="523637" y="557371"/>
                    </a:cubicBezTo>
                    <a:cubicBezTo>
                      <a:pt x="518636" y="563081"/>
                      <a:pt x="517922" y="570217"/>
                      <a:pt x="521494" y="576640"/>
                    </a:cubicBezTo>
                    <a:cubicBezTo>
                      <a:pt x="521494" y="576640"/>
                      <a:pt x="521494" y="576640"/>
                      <a:pt x="555784" y="636588"/>
                    </a:cubicBezTo>
                    <a:cubicBezTo>
                      <a:pt x="555784" y="636588"/>
                      <a:pt x="555784" y="636588"/>
                      <a:pt x="444341" y="628738"/>
                    </a:cubicBezTo>
                    <a:cubicBezTo>
                      <a:pt x="443627" y="628738"/>
                      <a:pt x="443627" y="628738"/>
                      <a:pt x="442912" y="628738"/>
                    </a:cubicBezTo>
                    <a:cubicBezTo>
                      <a:pt x="442912" y="628738"/>
                      <a:pt x="442912" y="628738"/>
                      <a:pt x="37862" y="628738"/>
                    </a:cubicBezTo>
                    <a:cubicBezTo>
                      <a:pt x="37862" y="628738"/>
                      <a:pt x="37862" y="628738"/>
                      <a:pt x="0" y="522402"/>
                    </a:cubicBezTo>
                    <a:cubicBezTo>
                      <a:pt x="0" y="522402"/>
                      <a:pt x="0" y="522402"/>
                      <a:pt x="56436" y="461027"/>
                    </a:cubicBezTo>
                    <a:lnTo>
                      <a:pt x="57244" y="454025"/>
                    </a:lnTo>
                    <a:lnTo>
                      <a:pt x="447890" y="454025"/>
                    </a:lnTo>
                    <a:cubicBezTo>
                      <a:pt x="473663" y="454025"/>
                      <a:pt x="495141" y="432564"/>
                      <a:pt x="495141" y="406812"/>
                    </a:cubicBezTo>
                    <a:cubicBezTo>
                      <a:pt x="495141" y="406812"/>
                      <a:pt x="495141" y="406812"/>
                      <a:pt x="495141" y="269464"/>
                    </a:cubicBezTo>
                    <a:cubicBezTo>
                      <a:pt x="495141" y="243711"/>
                      <a:pt x="473663" y="222250"/>
                      <a:pt x="447890" y="222250"/>
                    </a:cubicBezTo>
                    <a:cubicBezTo>
                      <a:pt x="447890" y="222250"/>
                      <a:pt x="447890" y="222250"/>
                      <a:pt x="70910" y="222250"/>
                    </a:cubicBezTo>
                    <a:lnTo>
                      <a:pt x="5792" y="222250"/>
                    </a:lnTo>
                    <a:lnTo>
                      <a:pt x="30004" y="195544"/>
                    </a:lnTo>
                    <a:cubicBezTo>
                      <a:pt x="66437" y="154865"/>
                      <a:pt x="102156" y="114186"/>
                      <a:pt x="102156" y="114186"/>
                    </a:cubicBezTo>
                    <a:cubicBezTo>
                      <a:pt x="104299" y="111332"/>
                      <a:pt x="105727" y="108477"/>
                      <a:pt x="106442" y="104909"/>
                    </a:cubicBezTo>
                    <a:cubicBezTo>
                      <a:pt x="106442" y="104909"/>
                      <a:pt x="106442" y="104909"/>
                      <a:pt x="114300" y="29260"/>
                    </a:cubicBezTo>
                    <a:cubicBezTo>
                      <a:pt x="114300" y="29260"/>
                      <a:pt x="114300" y="29260"/>
                      <a:pt x="324326" y="0"/>
                    </a:cubicBezTo>
                    <a:close/>
                  </a:path>
                </a:pathLst>
              </a:custGeom>
              <a:solidFill>
                <a:srgbClr val="6E6F73"/>
              </a:solidFill>
              <a:ln>
                <a:noFill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1000" b="0" i="0" u="none" strike="noStrike" kern="1200" cap="none" spc="0" normalizeH="0" baseline="0" noProof="0">
                  <a:ln>
                    <a:noFill/>
                  </a:ln>
                  <a:solidFill>
                    <a:srgbClr val="212121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80" name="Freeform 20">
                <a:extLst>
                  <a:ext uri="{FF2B5EF4-FFF2-40B4-BE49-F238E27FC236}">
                    <a16:creationId xmlns:a16="http://schemas.microsoft.com/office/drawing/2014/main" id="{C3E3C575-D889-0C39-B781-D306A633714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26789" y="2764126"/>
                <a:ext cx="1337548" cy="1334799"/>
              </a:xfrm>
              <a:custGeom>
                <a:avLst/>
                <a:gdLst>
                  <a:gd name="connsiteX0" fmla="*/ 172243 w 1337548"/>
                  <a:gd name="connsiteY0" fmla="*/ 882362 h 1334799"/>
                  <a:gd name="connsiteX1" fmla="*/ 342186 w 1337548"/>
                  <a:gd name="connsiteY1" fmla="*/ 927606 h 1334799"/>
                  <a:gd name="connsiteX2" fmla="*/ 172243 w 1337548"/>
                  <a:gd name="connsiteY2" fmla="*/ 972850 h 1334799"/>
                  <a:gd name="connsiteX3" fmla="*/ 172243 w 1337548"/>
                  <a:gd name="connsiteY3" fmla="*/ 943159 h 1334799"/>
                  <a:gd name="connsiteX4" fmla="*/ 16582 w 1337548"/>
                  <a:gd name="connsiteY4" fmla="*/ 943159 h 1334799"/>
                  <a:gd name="connsiteX5" fmla="*/ 873 w 1337548"/>
                  <a:gd name="connsiteY5" fmla="*/ 927606 h 1334799"/>
                  <a:gd name="connsiteX6" fmla="*/ 16582 w 1337548"/>
                  <a:gd name="connsiteY6" fmla="*/ 912054 h 1334799"/>
                  <a:gd name="connsiteX7" fmla="*/ 172243 w 1337548"/>
                  <a:gd name="connsiteY7" fmla="*/ 912054 h 1334799"/>
                  <a:gd name="connsiteX8" fmla="*/ 172243 w 1337548"/>
                  <a:gd name="connsiteY8" fmla="*/ 882362 h 1334799"/>
                  <a:gd name="connsiteX9" fmla="*/ 405685 w 1337548"/>
                  <a:gd name="connsiteY9" fmla="*/ 876012 h 1334799"/>
                  <a:gd name="connsiteX10" fmla="*/ 405685 w 1337548"/>
                  <a:gd name="connsiteY10" fmla="*/ 980787 h 1334799"/>
                  <a:gd name="connsiteX11" fmla="*/ 935910 w 1337548"/>
                  <a:gd name="connsiteY11" fmla="*/ 980787 h 1334799"/>
                  <a:gd name="connsiteX12" fmla="*/ 935910 w 1337548"/>
                  <a:gd name="connsiteY12" fmla="*/ 876012 h 1334799"/>
                  <a:gd name="connsiteX13" fmla="*/ 405685 w 1337548"/>
                  <a:gd name="connsiteY13" fmla="*/ 876012 h 1334799"/>
                  <a:gd name="connsiteX14" fmla="*/ 389673 w 1337548"/>
                  <a:gd name="connsiteY14" fmla="*/ 844262 h 1334799"/>
                  <a:gd name="connsiteX15" fmla="*/ 951923 w 1337548"/>
                  <a:gd name="connsiteY15" fmla="*/ 844262 h 1334799"/>
                  <a:gd name="connsiteX16" fmla="*/ 967660 w 1337548"/>
                  <a:gd name="connsiteY16" fmla="*/ 859949 h 1334799"/>
                  <a:gd name="connsiteX17" fmla="*/ 967660 w 1337548"/>
                  <a:gd name="connsiteY17" fmla="*/ 996850 h 1334799"/>
                  <a:gd name="connsiteX18" fmla="*/ 951923 w 1337548"/>
                  <a:gd name="connsiteY18" fmla="*/ 1012537 h 1334799"/>
                  <a:gd name="connsiteX19" fmla="*/ 389673 w 1337548"/>
                  <a:gd name="connsiteY19" fmla="*/ 1012537 h 1334799"/>
                  <a:gd name="connsiteX20" fmla="*/ 373935 w 1337548"/>
                  <a:gd name="connsiteY20" fmla="*/ 996850 h 1334799"/>
                  <a:gd name="connsiteX21" fmla="*/ 373935 w 1337548"/>
                  <a:gd name="connsiteY21" fmla="*/ 859949 h 1334799"/>
                  <a:gd name="connsiteX22" fmla="*/ 389673 w 1337548"/>
                  <a:gd name="connsiteY22" fmla="*/ 844262 h 1334799"/>
                  <a:gd name="connsiteX23" fmla="*/ 594198 w 1337548"/>
                  <a:gd name="connsiteY23" fmla="*/ 535 h 1334799"/>
                  <a:gd name="connsiteX24" fmla="*/ 605898 w 1337548"/>
                  <a:gd name="connsiteY24" fmla="*/ 1696 h 1334799"/>
                  <a:gd name="connsiteX25" fmla="*/ 1017451 w 1337548"/>
                  <a:gd name="connsiteY25" fmla="*/ 208163 h 1334799"/>
                  <a:gd name="connsiteX26" fmla="*/ 1025311 w 1337548"/>
                  <a:gd name="connsiteY26" fmla="*/ 216021 h 1334799"/>
                  <a:gd name="connsiteX27" fmla="*/ 1100333 w 1337548"/>
                  <a:gd name="connsiteY27" fmla="*/ 403913 h 1334799"/>
                  <a:gd name="connsiteX28" fmla="*/ 1288248 w 1337548"/>
                  <a:gd name="connsiteY28" fmla="*/ 529650 h 1334799"/>
                  <a:gd name="connsiteX29" fmla="*/ 1294678 w 1337548"/>
                  <a:gd name="connsiteY29" fmla="*/ 541796 h 1334799"/>
                  <a:gd name="connsiteX30" fmla="*/ 1337548 w 1337548"/>
                  <a:gd name="connsiteY30" fmla="*/ 1318368 h 1334799"/>
                  <a:gd name="connsiteX31" fmla="*/ 1333261 w 1337548"/>
                  <a:gd name="connsiteY31" fmla="*/ 1329798 h 1334799"/>
                  <a:gd name="connsiteX32" fmla="*/ 1321829 w 1337548"/>
                  <a:gd name="connsiteY32" fmla="*/ 1334799 h 1334799"/>
                  <a:gd name="connsiteX33" fmla="*/ 31437 w 1337548"/>
                  <a:gd name="connsiteY33" fmla="*/ 1334799 h 1334799"/>
                  <a:gd name="connsiteX34" fmla="*/ 15718 w 1337548"/>
                  <a:gd name="connsiteY34" fmla="*/ 1319082 h 1334799"/>
                  <a:gd name="connsiteX35" fmla="*/ 15718 w 1337548"/>
                  <a:gd name="connsiteY35" fmla="*/ 1190487 h 1334799"/>
                  <a:gd name="connsiteX36" fmla="*/ 27865 w 1337548"/>
                  <a:gd name="connsiteY36" fmla="*/ 1175484 h 1334799"/>
                  <a:gd name="connsiteX37" fmla="*/ 143614 w 1337548"/>
                  <a:gd name="connsiteY37" fmla="*/ 1149765 h 1334799"/>
                  <a:gd name="connsiteX38" fmla="*/ 150045 w 1337548"/>
                  <a:gd name="connsiteY38" fmla="*/ 1149765 h 1334799"/>
                  <a:gd name="connsiteX39" fmla="*/ 252219 w 1337548"/>
                  <a:gd name="connsiteY39" fmla="*/ 1174055 h 1334799"/>
                  <a:gd name="connsiteX40" fmla="*/ 307235 w 1337548"/>
                  <a:gd name="connsiteY40" fmla="*/ 1155480 h 1334799"/>
                  <a:gd name="connsiteX41" fmla="*/ 315095 w 1337548"/>
                  <a:gd name="connsiteY41" fmla="*/ 1154766 h 1334799"/>
                  <a:gd name="connsiteX42" fmla="*/ 452280 w 1337548"/>
                  <a:gd name="connsiteY42" fmla="*/ 1178342 h 1334799"/>
                  <a:gd name="connsiteX43" fmla="*/ 495150 w 1337548"/>
                  <a:gd name="connsiteY43" fmla="*/ 1186200 h 1334799"/>
                  <a:gd name="connsiteX44" fmla="*/ 506582 w 1337548"/>
                  <a:gd name="connsiteY44" fmla="*/ 1220492 h 1334799"/>
                  <a:gd name="connsiteX45" fmla="*/ 446564 w 1337548"/>
                  <a:gd name="connsiteY45" fmla="*/ 1209062 h 1334799"/>
                  <a:gd name="connsiteX46" fmla="*/ 313666 w 1337548"/>
                  <a:gd name="connsiteY46" fmla="*/ 1186915 h 1334799"/>
                  <a:gd name="connsiteX47" fmla="*/ 257935 w 1337548"/>
                  <a:gd name="connsiteY47" fmla="*/ 1205490 h 1334799"/>
                  <a:gd name="connsiteX48" fmla="*/ 249361 w 1337548"/>
                  <a:gd name="connsiteY48" fmla="*/ 1205490 h 1334799"/>
                  <a:gd name="connsiteX49" fmla="*/ 146472 w 1337548"/>
                  <a:gd name="connsiteY49" fmla="*/ 1181199 h 1334799"/>
                  <a:gd name="connsiteX50" fmla="*/ 47156 w 1337548"/>
                  <a:gd name="connsiteY50" fmla="*/ 1203346 h 1334799"/>
                  <a:gd name="connsiteX51" fmla="*/ 47156 w 1337548"/>
                  <a:gd name="connsiteY51" fmla="*/ 1303365 h 1334799"/>
                  <a:gd name="connsiteX52" fmla="*/ 1305396 w 1337548"/>
                  <a:gd name="connsiteY52" fmla="*/ 1303365 h 1334799"/>
                  <a:gd name="connsiteX53" fmla="*/ 1263954 w 1337548"/>
                  <a:gd name="connsiteY53" fmla="*/ 551797 h 1334799"/>
                  <a:gd name="connsiteX54" fmla="*/ 1078898 w 1337548"/>
                  <a:gd name="connsiteY54" fmla="*/ 427489 h 1334799"/>
                  <a:gd name="connsiteX55" fmla="*/ 1073182 w 1337548"/>
                  <a:gd name="connsiteY55" fmla="*/ 420345 h 1334799"/>
                  <a:gd name="connsiteX56" fmla="*/ 998160 w 1337548"/>
                  <a:gd name="connsiteY56" fmla="*/ 233167 h 1334799"/>
                  <a:gd name="connsiteX57" fmla="*/ 604469 w 1337548"/>
                  <a:gd name="connsiteY57" fmla="*/ 35988 h 1334799"/>
                  <a:gd name="connsiteX58" fmla="*/ 350820 w 1337548"/>
                  <a:gd name="connsiteY58" fmla="*/ 451779 h 1334799"/>
                  <a:gd name="connsiteX59" fmla="*/ 331528 w 1337548"/>
                  <a:gd name="connsiteY59" fmla="*/ 458209 h 1334799"/>
                  <a:gd name="connsiteX60" fmla="*/ 193629 w 1337548"/>
                  <a:gd name="connsiteY60" fmla="*/ 403199 h 1334799"/>
                  <a:gd name="connsiteX61" fmla="*/ 43584 w 1337548"/>
                  <a:gd name="connsiteY61" fmla="*/ 650387 h 1334799"/>
                  <a:gd name="connsiteX62" fmla="*/ 54301 w 1337548"/>
                  <a:gd name="connsiteY62" fmla="*/ 650387 h 1334799"/>
                  <a:gd name="connsiteX63" fmla="*/ 63590 w 1337548"/>
                  <a:gd name="connsiteY63" fmla="*/ 653959 h 1334799"/>
                  <a:gd name="connsiteX64" fmla="*/ 87883 w 1337548"/>
                  <a:gd name="connsiteY64" fmla="*/ 672534 h 1334799"/>
                  <a:gd name="connsiteX65" fmla="*/ 165049 w 1337548"/>
                  <a:gd name="connsiteY65" fmla="*/ 637527 h 1334799"/>
                  <a:gd name="connsiteX66" fmla="*/ 178625 w 1337548"/>
                  <a:gd name="connsiteY66" fmla="*/ 637527 h 1334799"/>
                  <a:gd name="connsiteX67" fmla="*/ 202203 w 1337548"/>
                  <a:gd name="connsiteY67" fmla="*/ 649673 h 1334799"/>
                  <a:gd name="connsiteX68" fmla="*/ 319382 w 1337548"/>
                  <a:gd name="connsiteY68" fmla="*/ 608236 h 1334799"/>
                  <a:gd name="connsiteX69" fmla="*/ 329385 w 1337548"/>
                  <a:gd name="connsiteY69" fmla="*/ 608236 h 1334799"/>
                  <a:gd name="connsiteX70" fmla="*/ 452994 w 1337548"/>
                  <a:gd name="connsiteY70" fmla="*/ 649673 h 1334799"/>
                  <a:gd name="connsiteX71" fmla="*/ 583748 w 1337548"/>
                  <a:gd name="connsiteY71" fmla="*/ 626811 h 1334799"/>
                  <a:gd name="connsiteX72" fmla="*/ 580890 w 1337548"/>
                  <a:gd name="connsiteY72" fmla="*/ 659674 h 1334799"/>
                  <a:gd name="connsiteX73" fmla="*/ 454423 w 1337548"/>
                  <a:gd name="connsiteY73" fmla="*/ 681821 h 1334799"/>
                  <a:gd name="connsiteX74" fmla="*/ 446564 w 1337548"/>
                  <a:gd name="connsiteY74" fmla="*/ 681107 h 1334799"/>
                  <a:gd name="connsiteX75" fmla="*/ 324383 w 1337548"/>
                  <a:gd name="connsiteY75" fmla="*/ 639671 h 1334799"/>
                  <a:gd name="connsiteX76" fmla="*/ 206490 w 1337548"/>
                  <a:gd name="connsiteY76" fmla="*/ 681821 h 1334799"/>
                  <a:gd name="connsiteX77" fmla="*/ 194344 w 1337548"/>
                  <a:gd name="connsiteY77" fmla="*/ 681107 h 1334799"/>
                  <a:gd name="connsiteX78" fmla="*/ 170765 w 1337548"/>
                  <a:gd name="connsiteY78" fmla="*/ 668962 h 1334799"/>
                  <a:gd name="connsiteX79" fmla="*/ 92170 w 1337548"/>
                  <a:gd name="connsiteY79" fmla="*/ 704683 h 1334799"/>
                  <a:gd name="connsiteX80" fmla="*/ 76451 w 1337548"/>
                  <a:gd name="connsiteY80" fmla="*/ 702539 h 1334799"/>
                  <a:gd name="connsiteX81" fmla="*/ 48585 w 1337548"/>
                  <a:gd name="connsiteY81" fmla="*/ 681821 h 1334799"/>
                  <a:gd name="connsiteX82" fmla="*/ 15718 w 1337548"/>
                  <a:gd name="connsiteY82" fmla="*/ 681821 h 1334799"/>
                  <a:gd name="connsiteX83" fmla="*/ 2143 w 1337548"/>
                  <a:gd name="connsiteY83" fmla="*/ 673963 h 1334799"/>
                  <a:gd name="connsiteX84" fmla="*/ 2143 w 1337548"/>
                  <a:gd name="connsiteY84" fmla="*/ 658246 h 1334799"/>
                  <a:gd name="connsiteX85" fmla="*/ 174338 w 1337548"/>
                  <a:gd name="connsiteY85" fmla="*/ 376051 h 1334799"/>
                  <a:gd name="connsiteX86" fmla="*/ 192915 w 1337548"/>
                  <a:gd name="connsiteY86" fmla="*/ 369621 h 1334799"/>
                  <a:gd name="connsiteX87" fmla="*/ 330814 w 1337548"/>
                  <a:gd name="connsiteY87" fmla="*/ 423917 h 1334799"/>
                  <a:gd name="connsiteX88" fmla="*/ 585177 w 1337548"/>
                  <a:gd name="connsiteY88" fmla="*/ 7411 h 1334799"/>
                  <a:gd name="connsiteX89" fmla="*/ 594198 w 1337548"/>
                  <a:gd name="connsiteY89" fmla="*/ 535 h 13347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</a:cxnLst>
                <a:rect l="l" t="t" r="r" b="b"/>
                <a:pathLst>
                  <a:path w="1337548" h="1334799">
                    <a:moveTo>
                      <a:pt x="172243" y="882362"/>
                    </a:moveTo>
                    <a:cubicBezTo>
                      <a:pt x="342186" y="927606"/>
                      <a:pt x="342186" y="927606"/>
                      <a:pt x="342186" y="927606"/>
                    </a:cubicBezTo>
                    <a:cubicBezTo>
                      <a:pt x="172243" y="972850"/>
                      <a:pt x="172243" y="972850"/>
                      <a:pt x="172243" y="972850"/>
                    </a:cubicBezTo>
                    <a:cubicBezTo>
                      <a:pt x="172243" y="943159"/>
                      <a:pt x="172243" y="943159"/>
                      <a:pt x="172243" y="943159"/>
                    </a:cubicBezTo>
                    <a:cubicBezTo>
                      <a:pt x="16582" y="943159"/>
                      <a:pt x="16582" y="943159"/>
                      <a:pt x="16582" y="943159"/>
                    </a:cubicBezTo>
                    <a:cubicBezTo>
                      <a:pt x="8013" y="943159"/>
                      <a:pt x="873" y="936796"/>
                      <a:pt x="873" y="927606"/>
                    </a:cubicBezTo>
                    <a:cubicBezTo>
                      <a:pt x="873" y="919123"/>
                      <a:pt x="8013" y="912054"/>
                      <a:pt x="16582" y="912054"/>
                    </a:cubicBezTo>
                    <a:cubicBezTo>
                      <a:pt x="172243" y="912054"/>
                      <a:pt x="172243" y="912054"/>
                      <a:pt x="172243" y="912054"/>
                    </a:cubicBezTo>
                    <a:cubicBezTo>
                      <a:pt x="172243" y="882362"/>
                      <a:pt x="172243" y="882362"/>
                      <a:pt x="172243" y="882362"/>
                    </a:cubicBezTo>
                    <a:close/>
                    <a:moveTo>
                      <a:pt x="405685" y="876012"/>
                    </a:moveTo>
                    <a:cubicBezTo>
                      <a:pt x="405685" y="980787"/>
                      <a:pt x="405685" y="980787"/>
                      <a:pt x="405685" y="980787"/>
                    </a:cubicBezTo>
                    <a:cubicBezTo>
                      <a:pt x="935910" y="980787"/>
                      <a:pt x="935910" y="980787"/>
                      <a:pt x="935910" y="980787"/>
                    </a:cubicBezTo>
                    <a:cubicBezTo>
                      <a:pt x="935910" y="876012"/>
                      <a:pt x="935910" y="876012"/>
                      <a:pt x="935910" y="876012"/>
                    </a:cubicBezTo>
                    <a:cubicBezTo>
                      <a:pt x="405685" y="876012"/>
                      <a:pt x="405685" y="876012"/>
                      <a:pt x="405685" y="876012"/>
                    </a:cubicBezTo>
                    <a:close/>
                    <a:moveTo>
                      <a:pt x="389673" y="844262"/>
                    </a:moveTo>
                    <a:cubicBezTo>
                      <a:pt x="951923" y="844262"/>
                      <a:pt x="951923" y="844262"/>
                      <a:pt x="951923" y="844262"/>
                    </a:cubicBezTo>
                    <a:cubicBezTo>
                      <a:pt x="960507" y="844262"/>
                      <a:pt x="967660" y="851392"/>
                      <a:pt x="967660" y="859949"/>
                    </a:cubicBezTo>
                    <a:cubicBezTo>
                      <a:pt x="967660" y="996850"/>
                      <a:pt x="967660" y="996850"/>
                      <a:pt x="967660" y="996850"/>
                    </a:cubicBezTo>
                    <a:cubicBezTo>
                      <a:pt x="967660" y="1005407"/>
                      <a:pt x="960507" y="1012537"/>
                      <a:pt x="951923" y="1012537"/>
                    </a:cubicBezTo>
                    <a:cubicBezTo>
                      <a:pt x="389673" y="1012537"/>
                      <a:pt x="389673" y="1012537"/>
                      <a:pt x="389673" y="1012537"/>
                    </a:cubicBezTo>
                    <a:cubicBezTo>
                      <a:pt x="381089" y="1012537"/>
                      <a:pt x="373935" y="1005407"/>
                      <a:pt x="373935" y="996850"/>
                    </a:cubicBezTo>
                    <a:cubicBezTo>
                      <a:pt x="373935" y="859949"/>
                      <a:pt x="373935" y="859949"/>
                      <a:pt x="373935" y="859949"/>
                    </a:cubicBezTo>
                    <a:cubicBezTo>
                      <a:pt x="373935" y="851392"/>
                      <a:pt x="381089" y="844262"/>
                      <a:pt x="389673" y="844262"/>
                    </a:cubicBezTo>
                    <a:close/>
                    <a:moveTo>
                      <a:pt x="594198" y="535"/>
                    </a:moveTo>
                    <a:cubicBezTo>
                      <a:pt x="597860" y="-447"/>
                      <a:pt x="601968" y="-90"/>
                      <a:pt x="605898" y="1696"/>
                    </a:cubicBezTo>
                    <a:cubicBezTo>
                      <a:pt x="605898" y="1696"/>
                      <a:pt x="605898" y="1696"/>
                      <a:pt x="1017451" y="208163"/>
                    </a:cubicBezTo>
                    <a:cubicBezTo>
                      <a:pt x="1021024" y="209591"/>
                      <a:pt x="1023882" y="212449"/>
                      <a:pt x="1025311" y="216021"/>
                    </a:cubicBezTo>
                    <a:cubicBezTo>
                      <a:pt x="1025311" y="216021"/>
                      <a:pt x="1025311" y="216021"/>
                      <a:pt x="1100333" y="403913"/>
                    </a:cubicBezTo>
                    <a:cubicBezTo>
                      <a:pt x="1100333" y="403913"/>
                      <a:pt x="1100333" y="403913"/>
                      <a:pt x="1288248" y="529650"/>
                    </a:cubicBezTo>
                    <a:cubicBezTo>
                      <a:pt x="1291820" y="532508"/>
                      <a:pt x="1294678" y="536795"/>
                      <a:pt x="1294678" y="541796"/>
                    </a:cubicBezTo>
                    <a:cubicBezTo>
                      <a:pt x="1294678" y="541796"/>
                      <a:pt x="1294678" y="541796"/>
                      <a:pt x="1337548" y="1318368"/>
                    </a:cubicBezTo>
                    <a:cubicBezTo>
                      <a:pt x="1337548" y="1322654"/>
                      <a:pt x="1336119" y="1326941"/>
                      <a:pt x="1333261" y="1329798"/>
                    </a:cubicBezTo>
                    <a:cubicBezTo>
                      <a:pt x="1330403" y="1333370"/>
                      <a:pt x="1326116" y="1334799"/>
                      <a:pt x="1321829" y="1334799"/>
                    </a:cubicBezTo>
                    <a:cubicBezTo>
                      <a:pt x="1321829" y="1334799"/>
                      <a:pt x="1321829" y="1334799"/>
                      <a:pt x="31437" y="1334799"/>
                    </a:cubicBezTo>
                    <a:cubicBezTo>
                      <a:pt x="22863" y="1334799"/>
                      <a:pt x="15718" y="1327655"/>
                      <a:pt x="15718" y="1319082"/>
                    </a:cubicBezTo>
                    <a:cubicBezTo>
                      <a:pt x="15718" y="1319082"/>
                      <a:pt x="15718" y="1319082"/>
                      <a:pt x="15718" y="1190487"/>
                    </a:cubicBezTo>
                    <a:cubicBezTo>
                      <a:pt x="15718" y="1183343"/>
                      <a:pt x="20720" y="1176913"/>
                      <a:pt x="27865" y="1175484"/>
                    </a:cubicBezTo>
                    <a:cubicBezTo>
                      <a:pt x="27865" y="1175484"/>
                      <a:pt x="27865" y="1175484"/>
                      <a:pt x="143614" y="1149765"/>
                    </a:cubicBezTo>
                    <a:cubicBezTo>
                      <a:pt x="145758" y="1149051"/>
                      <a:pt x="147901" y="1149765"/>
                      <a:pt x="150045" y="1149765"/>
                    </a:cubicBezTo>
                    <a:cubicBezTo>
                      <a:pt x="150045" y="1149765"/>
                      <a:pt x="150045" y="1149765"/>
                      <a:pt x="252219" y="1174055"/>
                    </a:cubicBezTo>
                    <a:cubicBezTo>
                      <a:pt x="252219" y="1174055"/>
                      <a:pt x="252219" y="1174055"/>
                      <a:pt x="307235" y="1155480"/>
                    </a:cubicBezTo>
                    <a:cubicBezTo>
                      <a:pt x="309379" y="1154766"/>
                      <a:pt x="312237" y="1154766"/>
                      <a:pt x="315095" y="1154766"/>
                    </a:cubicBezTo>
                    <a:cubicBezTo>
                      <a:pt x="315095" y="1154766"/>
                      <a:pt x="315095" y="1154766"/>
                      <a:pt x="452280" y="1178342"/>
                    </a:cubicBezTo>
                    <a:cubicBezTo>
                      <a:pt x="452280" y="1178342"/>
                      <a:pt x="452280" y="1178342"/>
                      <a:pt x="495150" y="1186200"/>
                    </a:cubicBezTo>
                    <a:cubicBezTo>
                      <a:pt x="495150" y="1186200"/>
                      <a:pt x="495150" y="1186200"/>
                      <a:pt x="506582" y="1220492"/>
                    </a:cubicBezTo>
                    <a:cubicBezTo>
                      <a:pt x="506582" y="1220492"/>
                      <a:pt x="506582" y="1220492"/>
                      <a:pt x="446564" y="1209062"/>
                    </a:cubicBezTo>
                    <a:cubicBezTo>
                      <a:pt x="446564" y="1209062"/>
                      <a:pt x="446564" y="1209062"/>
                      <a:pt x="313666" y="1186915"/>
                    </a:cubicBezTo>
                    <a:cubicBezTo>
                      <a:pt x="313666" y="1186915"/>
                      <a:pt x="313666" y="1186915"/>
                      <a:pt x="257935" y="1205490"/>
                    </a:cubicBezTo>
                    <a:cubicBezTo>
                      <a:pt x="255077" y="1206204"/>
                      <a:pt x="252219" y="1206204"/>
                      <a:pt x="249361" y="1205490"/>
                    </a:cubicBezTo>
                    <a:cubicBezTo>
                      <a:pt x="249361" y="1205490"/>
                      <a:pt x="249361" y="1205490"/>
                      <a:pt x="146472" y="1181199"/>
                    </a:cubicBezTo>
                    <a:cubicBezTo>
                      <a:pt x="146472" y="1181199"/>
                      <a:pt x="146472" y="1181199"/>
                      <a:pt x="47156" y="1203346"/>
                    </a:cubicBezTo>
                    <a:cubicBezTo>
                      <a:pt x="47156" y="1203346"/>
                      <a:pt x="47156" y="1203346"/>
                      <a:pt x="47156" y="1303365"/>
                    </a:cubicBezTo>
                    <a:cubicBezTo>
                      <a:pt x="47156" y="1303365"/>
                      <a:pt x="47156" y="1303365"/>
                      <a:pt x="1305396" y="1303365"/>
                    </a:cubicBezTo>
                    <a:cubicBezTo>
                      <a:pt x="1305396" y="1303365"/>
                      <a:pt x="1305396" y="1303365"/>
                      <a:pt x="1263954" y="551797"/>
                    </a:cubicBezTo>
                    <a:cubicBezTo>
                      <a:pt x="1263954" y="551797"/>
                      <a:pt x="1263954" y="551797"/>
                      <a:pt x="1078898" y="427489"/>
                    </a:cubicBezTo>
                    <a:cubicBezTo>
                      <a:pt x="1076040" y="425345"/>
                      <a:pt x="1073897" y="423202"/>
                      <a:pt x="1073182" y="420345"/>
                    </a:cubicBezTo>
                    <a:cubicBezTo>
                      <a:pt x="1073182" y="420345"/>
                      <a:pt x="1073182" y="420345"/>
                      <a:pt x="998160" y="233167"/>
                    </a:cubicBezTo>
                    <a:cubicBezTo>
                      <a:pt x="998160" y="233167"/>
                      <a:pt x="998160" y="233167"/>
                      <a:pt x="604469" y="35988"/>
                    </a:cubicBezTo>
                    <a:cubicBezTo>
                      <a:pt x="604469" y="35988"/>
                      <a:pt x="604469" y="35988"/>
                      <a:pt x="350820" y="451779"/>
                    </a:cubicBezTo>
                    <a:cubicBezTo>
                      <a:pt x="347247" y="458209"/>
                      <a:pt x="338673" y="461066"/>
                      <a:pt x="331528" y="458209"/>
                    </a:cubicBezTo>
                    <a:cubicBezTo>
                      <a:pt x="331528" y="458209"/>
                      <a:pt x="331528" y="458209"/>
                      <a:pt x="193629" y="403199"/>
                    </a:cubicBezTo>
                    <a:cubicBezTo>
                      <a:pt x="193629" y="403199"/>
                      <a:pt x="193629" y="403199"/>
                      <a:pt x="43584" y="650387"/>
                    </a:cubicBezTo>
                    <a:cubicBezTo>
                      <a:pt x="43584" y="650387"/>
                      <a:pt x="43584" y="650387"/>
                      <a:pt x="54301" y="650387"/>
                    </a:cubicBezTo>
                    <a:cubicBezTo>
                      <a:pt x="57874" y="650387"/>
                      <a:pt x="61446" y="651816"/>
                      <a:pt x="63590" y="653959"/>
                    </a:cubicBezTo>
                    <a:cubicBezTo>
                      <a:pt x="63590" y="653959"/>
                      <a:pt x="63590" y="653959"/>
                      <a:pt x="87883" y="672534"/>
                    </a:cubicBezTo>
                    <a:cubicBezTo>
                      <a:pt x="87883" y="672534"/>
                      <a:pt x="87883" y="672534"/>
                      <a:pt x="165049" y="637527"/>
                    </a:cubicBezTo>
                    <a:cubicBezTo>
                      <a:pt x="169336" y="635384"/>
                      <a:pt x="174338" y="635384"/>
                      <a:pt x="178625" y="637527"/>
                    </a:cubicBezTo>
                    <a:cubicBezTo>
                      <a:pt x="178625" y="637527"/>
                      <a:pt x="178625" y="637527"/>
                      <a:pt x="202203" y="649673"/>
                    </a:cubicBezTo>
                    <a:cubicBezTo>
                      <a:pt x="202203" y="649673"/>
                      <a:pt x="202203" y="649673"/>
                      <a:pt x="319382" y="608236"/>
                    </a:cubicBezTo>
                    <a:cubicBezTo>
                      <a:pt x="322240" y="607522"/>
                      <a:pt x="325812" y="607522"/>
                      <a:pt x="329385" y="608236"/>
                    </a:cubicBezTo>
                    <a:cubicBezTo>
                      <a:pt x="329385" y="608236"/>
                      <a:pt x="329385" y="608236"/>
                      <a:pt x="452994" y="649673"/>
                    </a:cubicBezTo>
                    <a:cubicBezTo>
                      <a:pt x="452994" y="649673"/>
                      <a:pt x="452994" y="649673"/>
                      <a:pt x="583748" y="626811"/>
                    </a:cubicBezTo>
                    <a:cubicBezTo>
                      <a:pt x="583748" y="626811"/>
                      <a:pt x="583748" y="626811"/>
                      <a:pt x="580890" y="659674"/>
                    </a:cubicBezTo>
                    <a:cubicBezTo>
                      <a:pt x="580890" y="659674"/>
                      <a:pt x="580890" y="659674"/>
                      <a:pt x="454423" y="681821"/>
                    </a:cubicBezTo>
                    <a:cubicBezTo>
                      <a:pt x="452280" y="681821"/>
                      <a:pt x="449422" y="681821"/>
                      <a:pt x="446564" y="681107"/>
                    </a:cubicBezTo>
                    <a:cubicBezTo>
                      <a:pt x="446564" y="681107"/>
                      <a:pt x="446564" y="681107"/>
                      <a:pt x="324383" y="639671"/>
                    </a:cubicBezTo>
                    <a:cubicBezTo>
                      <a:pt x="324383" y="639671"/>
                      <a:pt x="324383" y="639671"/>
                      <a:pt x="206490" y="681821"/>
                    </a:cubicBezTo>
                    <a:cubicBezTo>
                      <a:pt x="202918" y="683250"/>
                      <a:pt x="197916" y="683250"/>
                      <a:pt x="194344" y="681107"/>
                    </a:cubicBezTo>
                    <a:cubicBezTo>
                      <a:pt x="194344" y="681107"/>
                      <a:pt x="194344" y="681107"/>
                      <a:pt x="170765" y="668962"/>
                    </a:cubicBezTo>
                    <a:cubicBezTo>
                      <a:pt x="170765" y="668962"/>
                      <a:pt x="170765" y="668962"/>
                      <a:pt x="92170" y="704683"/>
                    </a:cubicBezTo>
                    <a:cubicBezTo>
                      <a:pt x="87169" y="706826"/>
                      <a:pt x="80738" y="706112"/>
                      <a:pt x="76451" y="702539"/>
                    </a:cubicBezTo>
                    <a:cubicBezTo>
                      <a:pt x="76451" y="702539"/>
                      <a:pt x="76451" y="702539"/>
                      <a:pt x="48585" y="681821"/>
                    </a:cubicBezTo>
                    <a:cubicBezTo>
                      <a:pt x="48585" y="681821"/>
                      <a:pt x="48585" y="681821"/>
                      <a:pt x="15718" y="681821"/>
                    </a:cubicBezTo>
                    <a:cubicBezTo>
                      <a:pt x="10002" y="681821"/>
                      <a:pt x="5001" y="678964"/>
                      <a:pt x="2143" y="673963"/>
                    </a:cubicBezTo>
                    <a:cubicBezTo>
                      <a:pt x="-715" y="668962"/>
                      <a:pt x="-715" y="662532"/>
                      <a:pt x="2143" y="658246"/>
                    </a:cubicBezTo>
                    <a:cubicBezTo>
                      <a:pt x="2143" y="658246"/>
                      <a:pt x="2143" y="658246"/>
                      <a:pt x="174338" y="376051"/>
                    </a:cubicBezTo>
                    <a:cubicBezTo>
                      <a:pt x="177910" y="368907"/>
                      <a:pt x="185770" y="366763"/>
                      <a:pt x="192915" y="369621"/>
                    </a:cubicBezTo>
                    <a:cubicBezTo>
                      <a:pt x="192915" y="369621"/>
                      <a:pt x="192915" y="369621"/>
                      <a:pt x="330814" y="423917"/>
                    </a:cubicBezTo>
                    <a:cubicBezTo>
                      <a:pt x="330814" y="423917"/>
                      <a:pt x="330814" y="423917"/>
                      <a:pt x="585177" y="7411"/>
                    </a:cubicBezTo>
                    <a:cubicBezTo>
                      <a:pt x="587321" y="3839"/>
                      <a:pt x="590536" y="1517"/>
                      <a:pt x="594198" y="535"/>
                    </a:cubicBezTo>
                    <a:close/>
                  </a:path>
                </a:pathLst>
              </a:custGeom>
              <a:solidFill>
                <a:srgbClr val="6E6F7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1000" b="0" i="0" u="none" strike="noStrike" kern="1200" cap="none" spc="0" normalizeH="0" baseline="0" noProof="0">
                  <a:ln>
                    <a:noFill/>
                  </a:ln>
                  <a:solidFill>
                    <a:srgbClr val="212121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Arial" panose="020B0604020202020204" pitchFamily="34" charset="0"/>
                </a:endParaRPr>
              </a:p>
            </p:txBody>
          </p:sp>
        </p:grpSp>
      </p:grpSp>
      <p:sp>
        <p:nvSpPr>
          <p:cNvPr id="188" name="TextBox 187">
            <a:extLst>
              <a:ext uri="{FF2B5EF4-FFF2-40B4-BE49-F238E27FC236}">
                <a16:creationId xmlns:a16="http://schemas.microsoft.com/office/drawing/2014/main" id="{D28CE12E-446F-E67B-C618-227AA0F9043D}"/>
              </a:ext>
            </a:extLst>
          </p:cNvPr>
          <p:cNvSpPr txBox="1"/>
          <p:nvPr/>
        </p:nvSpPr>
        <p:spPr>
          <a:xfrm>
            <a:off x="9566980" y="2860677"/>
            <a:ext cx="1803839" cy="237971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it-IT" sz="1400" i="1">
                <a:solidFill>
                  <a:schemeClr val="tx1"/>
                </a:solidFill>
                <a:latin typeface="+mj-lt"/>
              </a:rPr>
              <a:t>Stoccaggio CO</a:t>
            </a:r>
            <a:r>
              <a:rPr lang="it-IT" sz="1400" i="1" baseline="-25000">
                <a:solidFill>
                  <a:schemeClr val="tx1"/>
                </a:solidFill>
                <a:latin typeface="+mj-lt"/>
              </a:rPr>
              <a:t>2</a:t>
            </a:r>
            <a:r>
              <a:rPr lang="it-IT" sz="1400" i="1">
                <a:solidFill>
                  <a:schemeClr val="tx1"/>
                </a:solidFill>
                <a:latin typeface="+mj-lt"/>
              </a:rPr>
              <a:t> Ravenna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E5CB044A-1D8C-339A-F7EB-F846D3ADA3F5}"/>
              </a:ext>
            </a:extLst>
          </p:cNvPr>
          <p:cNvSpPr txBox="1"/>
          <p:nvPr/>
        </p:nvSpPr>
        <p:spPr>
          <a:xfrm>
            <a:off x="8450411" y="3190045"/>
            <a:ext cx="851466" cy="337848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it-IT" sz="1400" i="1">
                <a:solidFill>
                  <a:schemeClr val="tx1"/>
                </a:solidFill>
                <a:latin typeface="+mj-lt"/>
              </a:rPr>
              <a:t>CO</a:t>
            </a:r>
            <a:r>
              <a:rPr lang="it-IT" sz="1400" i="1" baseline="-25000">
                <a:solidFill>
                  <a:schemeClr val="tx1"/>
                </a:solidFill>
                <a:latin typeface="+mj-lt"/>
              </a:rPr>
              <a:t>2</a:t>
            </a:r>
          </a:p>
        </p:txBody>
      </p:sp>
      <p:grpSp>
        <p:nvGrpSpPr>
          <p:cNvPr id="5" name="bcgIcons_Globe">
            <a:extLst>
              <a:ext uri="{FF2B5EF4-FFF2-40B4-BE49-F238E27FC236}">
                <a16:creationId xmlns:a16="http://schemas.microsoft.com/office/drawing/2014/main" id="{BAA4C089-F8B6-8796-F873-A8240E69FA13}"/>
              </a:ext>
            </a:extLst>
          </p:cNvPr>
          <p:cNvGrpSpPr>
            <a:grpSpLocks noChangeAspect="1"/>
          </p:cNvGrpSpPr>
          <p:nvPr/>
        </p:nvGrpSpPr>
        <p:grpSpPr>
          <a:xfrm>
            <a:off x="8180981" y="4804709"/>
            <a:ext cx="698031" cy="697492"/>
            <a:chOff x="5273677" y="2606675"/>
            <a:chExt cx="1645920" cy="1644650"/>
          </a:xfrm>
        </p:grpSpPr>
        <p:sp>
          <p:nvSpPr>
            <p:cNvPr id="6" name="AutoShape 77">
              <a:extLst>
                <a:ext uri="{FF2B5EF4-FFF2-40B4-BE49-F238E27FC236}">
                  <a16:creationId xmlns:a16="http://schemas.microsoft.com/office/drawing/2014/main" id="{B355E03E-B3A5-7AE1-6779-8668DD859471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5273677" y="2606675"/>
              <a:ext cx="1645920" cy="16446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7" name="Group 6">
              <a:extLst>
                <a:ext uri="{FF2B5EF4-FFF2-40B4-BE49-F238E27FC236}">
                  <a16:creationId xmlns:a16="http://schemas.microsoft.com/office/drawing/2014/main" id="{75CABA2A-A192-A229-559D-042EE92EB38D}"/>
                </a:ext>
              </a:extLst>
            </p:cNvPr>
            <p:cNvGrpSpPr/>
            <p:nvPr/>
          </p:nvGrpSpPr>
          <p:grpSpPr>
            <a:xfrm>
              <a:off x="5457295" y="2790755"/>
              <a:ext cx="1280194" cy="1277999"/>
              <a:chOff x="5457295" y="2790755"/>
              <a:chExt cx="1280194" cy="1277999"/>
            </a:xfrm>
          </p:grpSpPr>
          <p:sp>
            <p:nvSpPr>
              <p:cNvPr id="8" name="Freeform 79">
                <a:extLst>
                  <a:ext uri="{FF2B5EF4-FFF2-40B4-BE49-F238E27FC236}">
                    <a16:creationId xmlns:a16="http://schemas.microsoft.com/office/drawing/2014/main" id="{120BCD8C-F2D9-92AB-8941-C3753A97944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457295" y="2790755"/>
                <a:ext cx="1280194" cy="1277999"/>
              </a:xfrm>
              <a:custGeom>
                <a:avLst/>
                <a:gdLst>
                  <a:gd name="T0" fmla="*/ 1529 w 1792"/>
                  <a:gd name="T1" fmla="*/ 263 h 1790"/>
                  <a:gd name="T2" fmla="*/ 896 w 1792"/>
                  <a:gd name="T3" fmla="*/ 0 h 1790"/>
                  <a:gd name="T4" fmla="*/ 263 w 1792"/>
                  <a:gd name="T5" fmla="*/ 262 h 1790"/>
                  <a:gd name="T6" fmla="*/ 0 w 1792"/>
                  <a:gd name="T7" fmla="*/ 895 h 1790"/>
                  <a:gd name="T8" fmla="*/ 263 w 1792"/>
                  <a:gd name="T9" fmla="*/ 1528 h 1790"/>
                  <a:gd name="T10" fmla="*/ 896 w 1792"/>
                  <a:gd name="T11" fmla="*/ 1790 h 1790"/>
                  <a:gd name="T12" fmla="*/ 1529 w 1792"/>
                  <a:gd name="T13" fmla="*/ 1528 h 1790"/>
                  <a:gd name="T14" fmla="*/ 1792 w 1792"/>
                  <a:gd name="T15" fmla="*/ 895 h 1790"/>
                  <a:gd name="T16" fmla="*/ 1529 w 1792"/>
                  <a:gd name="T17" fmla="*/ 263 h 1790"/>
                  <a:gd name="T18" fmla="*/ 1498 w 1792"/>
                  <a:gd name="T19" fmla="*/ 1497 h 1790"/>
                  <a:gd name="T20" fmla="*/ 896 w 1792"/>
                  <a:gd name="T21" fmla="*/ 1746 h 1790"/>
                  <a:gd name="T22" fmla="*/ 294 w 1792"/>
                  <a:gd name="T23" fmla="*/ 1497 h 1790"/>
                  <a:gd name="T24" fmla="*/ 44 w 1792"/>
                  <a:gd name="T25" fmla="*/ 895 h 1790"/>
                  <a:gd name="T26" fmla="*/ 294 w 1792"/>
                  <a:gd name="T27" fmla="*/ 294 h 1790"/>
                  <a:gd name="T28" fmla="*/ 896 w 1792"/>
                  <a:gd name="T29" fmla="*/ 44 h 1790"/>
                  <a:gd name="T30" fmla="*/ 1498 w 1792"/>
                  <a:gd name="T31" fmla="*/ 294 h 1790"/>
                  <a:gd name="T32" fmla="*/ 1748 w 1792"/>
                  <a:gd name="T33" fmla="*/ 895 h 1790"/>
                  <a:gd name="T34" fmla="*/ 1498 w 1792"/>
                  <a:gd name="T35" fmla="*/ 1497 h 17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792" h="1790">
                    <a:moveTo>
                      <a:pt x="1529" y="263"/>
                    </a:moveTo>
                    <a:cubicBezTo>
                      <a:pt x="1361" y="93"/>
                      <a:pt x="1136" y="0"/>
                      <a:pt x="896" y="0"/>
                    </a:cubicBezTo>
                    <a:cubicBezTo>
                      <a:pt x="656" y="0"/>
                      <a:pt x="431" y="93"/>
                      <a:pt x="263" y="262"/>
                    </a:cubicBezTo>
                    <a:cubicBezTo>
                      <a:pt x="93" y="431"/>
                      <a:pt x="0" y="656"/>
                      <a:pt x="0" y="895"/>
                    </a:cubicBezTo>
                    <a:cubicBezTo>
                      <a:pt x="0" y="1135"/>
                      <a:pt x="93" y="1360"/>
                      <a:pt x="263" y="1528"/>
                    </a:cubicBezTo>
                    <a:cubicBezTo>
                      <a:pt x="431" y="1697"/>
                      <a:pt x="656" y="1790"/>
                      <a:pt x="896" y="1790"/>
                    </a:cubicBezTo>
                    <a:cubicBezTo>
                      <a:pt x="1136" y="1790"/>
                      <a:pt x="1361" y="1697"/>
                      <a:pt x="1529" y="1528"/>
                    </a:cubicBezTo>
                    <a:cubicBezTo>
                      <a:pt x="1699" y="1360"/>
                      <a:pt x="1792" y="1135"/>
                      <a:pt x="1792" y="895"/>
                    </a:cubicBezTo>
                    <a:cubicBezTo>
                      <a:pt x="1792" y="656"/>
                      <a:pt x="1699" y="431"/>
                      <a:pt x="1529" y="263"/>
                    </a:cubicBezTo>
                    <a:close/>
                    <a:moveTo>
                      <a:pt x="1498" y="1497"/>
                    </a:moveTo>
                    <a:cubicBezTo>
                      <a:pt x="1338" y="1658"/>
                      <a:pt x="1123" y="1746"/>
                      <a:pt x="896" y="1746"/>
                    </a:cubicBezTo>
                    <a:cubicBezTo>
                      <a:pt x="669" y="1746"/>
                      <a:pt x="454" y="1658"/>
                      <a:pt x="294" y="1497"/>
                    </a:cubicBezTo>
                    <a:cubicBezTo>
                      <a:pt x="132" y="1337"/>
                      <a:pt x="44" y="1122"/>
                      <a:pt x="44" y="895"/>
                    </a:cubicBezTo>
                    <a:cubicBezTo>
                      <a:pt x="44" y="668"/>
                      <a:pt x="132" y="454"/>
                      <a:pt x="294" y="294"/>
                    </a:cubicBezTo>
                    <a:cubicBezTo>
                      <a:pt x="454" y="133"/>
                      <a:pt x="669" y="44"/>
                      <a:pt x="896" y="44"/>
                    </a:cubicBezTo>
                    <a:cubicBezTo>
                      <a:pt x="1123" y="44"/>
                      <a:pt x="1338" y="133"/>
                      <a:pt x="1498" y="294"/>
                    </a:cubicBezTo>
                    <a:cubicBezTo>
                      <a:pt x="1660" y="454"/>
                      <a:pt x="1748" y="668"/>
                      <a:pt x="1748" y="895"/>
                    </a:cubicBezTo>
                    <a:cubicBezTo>
                      <a:pt x="1748" y="1122"/>
                      <a:pt x="1660" y="1337"/>
                      <a:pt x="1498" y="1497"/>
                    </a:cubicBezTo>
                    <a:close/>
                  </a:path>
                </a:pathLst>
              </a:custGeom>
              <a:solidFill>
                <a:srgbClr val="2D716B"/>
              </a:solidFill>
              <a:ln w="3175"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t-IT"/>
              </a:p>
            </p:txBody>
          </p:sp>
          <p:sp>
            <p:nvSpPr>
              <p:cNvPr id="9" name="Freeform 13">
                <a:extLst>
                  <a:ext uri="{FF2B5EF4-FFF2-40B4-BE49-F238E27FC236}">
                    <a16:creationId xmlns:a16="http://schemas.microsoft.com/office/drawing/2014/main" id="{63392998-EBE1-FC2C-A43D-2218501E2C7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17998" y="2851409"/>
                <a:ext cx="1143255" cy="1156386"/>
              </a:xfrm>
              <a:custGeom>
                <a:avLst/>
                <a:gdLst>
                  <a:gd name="connsiteX0" fmla="*/ 533702 w 1143255"/>
                  <a:gd name="connsiteY0" fmla="*/ 1074544 h 1156386"/>
                  <a:gd name="connsiteX1" fmla="*/ 678794 w 1143255"/>
                  <a:gd name="connsiteY1" fmla="*/ 1144999 h 1156386"/>
                  <a:gd name="connsiteX2" fmla="*/ 676650 w 1143255"/>
                  <a:gd name="connsiteY2" fmla="*/ 1148558 h 1156386"/>
                  <a:gd name="connsiteX3" fmla="*/ 579445 w 1143255"/>
                  <a:gd name="connsiteY3" fmla="*/ 1156386 h 1156386"/>
                  <a:gd name="connsiteX4" fmla="*/ 462942 w 1143255"/>
                  <a:gd name="connsiteY4" fmla="*/ 1144999 h 1156386"/>
                  <a:gd name="connsiteX5" fmla="*/ 401474 w 1143255"/>
                  <a:gd name="connsiteY5" fmla="*/ 1128631 h 1156386"/>
                  <a:gd name="connsiteX6" fmla="*/ 400759 w 1143255"/>
                  <a:gd name="connsiteY6" fmla="*/ 1128631 h 1156386"/>
                  <a:gd name="connsiteX7" fmla="*/ 533702 w 1143255"/>
                  <a:gd name="connsiteY7" fmla="*/ 1074544 h 1156386"/>
                  <a:gd name="connsiteX8" fmla="*/ 900936 w 1143255"/>
                  <a:gd name="connsiteY8" fmla="*/ 803314 h 1156386"/>
                  <a:gd name="connsiteX9" fmla="*/ 901650 w 1143255"/>
                  <a:gd name="connsiteY9" fmla="*/ 803314 h 1156386"/>
                  <a:gd name="connsiteX10" fmla="*/ 916632 w 1143255"/>
                  <a:gd name="connsiteY10" fmla="*/ 897408 h 1156386"/>
                  <a:gd name="connsiteX11" fmla="*/ 856702 w 1143255"/>
                  <a:gd name="connsiteY11" fmla="*/ 923070 h 1156386"/>
                  <a:gd name="connsiteX12" fmla="*/ 855275 w 1143255"/>
                  <a:gd name="connsiteY12" fmla="*/ 920219 h 1156386"/>
                  <a:gd name="connsiteX13" fmla="*/ 865977 w 1143255"/>
                  <a:gd name="connsiteY13" fmla="*/ 839669 h 1156386"/>
                  <a:gd name="connsiteX14" fmla="*/ 900936 w 1143255"/>
                  <a:gd name="connsiteY14" fmla="*/ 803314 h 1156386"/>
                  <a:gd name="connsiteX15" fmla="*/ 8579 w 1143255"/>
                  <a:gd name="connsiteY15" fmla="*/ 493395 h 1156386"/>
                  <a:gd name="connsiteX16" fmla="*/ 80787 w 1143255"/>
                  <a:gd name="connsiteY16" fmla="*/ 552635 h 1156386"/>
                  <a:gd name="connsiteX17" fmla="*/ 157999 w 1143255"/>
                  <a:gd name="connsiteY17" fmla="*/ 711799 h 1156386"/>
                  <a:gd name="connsiteX18" fmla="*/ 169438 w 1143255"/>
                  <a:gd name="connsiteY18" fmla="*/ 858829 h 1156386"/>
                  <a:gd name="connsiteX19" fmla="*/ 169438 w 1143255"/>
                  <a:gd name="connsiteY19" fmla="*/ 860257 h 1156386"/>
                  <a:gd name="connsiteX20" fmla="*/ 187311 w 1143255"/>
                  <a:gd name="connsiteY20" fmla="*/ 997295 h 1156386"/>
                  <a:gd name="connsiteX21" fmla="*/ 183021 w 1143255"/>
                  <a:gd name="connsiteY21" fmla="*/ 999436 h 1156386"/>
                  <a:gd name="connsiteX22" fmla="*/ 0 w 1143255"/>
                  <a:gd name="connsiteY22" fmla="*/ 578330 h 1156386"/>
                  <a:gd name="connsiteX23" fmla="*/ 5719 w 1143255"/>
                  <a:gd name="connsiteY23" fmla="*/ 495536 h 1156386"/>
                  <a:gd name="connsiteX24" fmla="*/ 8579 w 1143255"/>
                  <a:gd name="connsiteY24" fmla="*/ 493395 h 1156386"/>
                  <a:gd name="connsiteX25" fmla="*/ 296585 w 1143255"/>
                  <a:gd name="connsiteY25" fmla="*/ 74456 h 1156386"/>
                  <a:gd name="connsiteX26" fmla="*/ 300159 w 1143255"/>
                  <a:gd name="connsiteY26" fmla="*/ 76598 h 1156386"/>
                  <a:gd name="connsiteX27" fmla="*/ 317319 w 1143255"/>
                  <a:gd name="connsiteY27" fmla="*/ 160812 h 1156386"/>
                  <a:gd name="connsiteX28" fmla="*/ 272990 w 1143255"/>
                  <a:gd name="connsiteY28" fmla="*/ 302121 h 1156386"/>
                  <a:gd name="connsiteX29" fmla="*/ 137859 w 1143255"/>
                  <a:gd name="connsiteY29" fmla="*/ 373489 h 1156386"/>
                  <a:gd name="connsiteX30" fmla="*/ 32043 w 1143255"/>
                  <a:gd name="connsiteY30" fmla="*/ 397754 h 1156386"/>
                  <a:gd name="connsiteX31" fmla="*/ 30613 w 1143255"/>
                  <a:gd name="connsiteY31" fmla="*/ 394899 h 1156386"/>
                  <a:gd name="connsiteX32" fmla="*/ 33473 w 1143255"/>
                  <a:gd name="connsiteY32" fmla="*/ 384908 h 1156386"/>
                  <a:gd name="connsiteX33" fmla="*/ 296585 w 1143255"/>
                  <a:gd name="connsiteY33" fmla="*/ 74456 h 1156386"/>
                  <a:gd name="connsiteX34" fmla="*/ 579383 w 1143255"/>
                  <a:gd name="connsiteY34" fmla="*/ 0 h 1156386"/>
                  <a:gd name="connsiteX35" fmla="*/ 1057972 w 1143255"/>
                  <a:gd name="connsiteY35" fmla="*/ 252720 h 1156386"/>
                  <a:gd name="connsiteX36" fmla="*/ 1142975 w 1143255"/>
                  <a:gd name="connsiteY36" fmla="*/ 442616 h 1156386"/>
                  <a:gd name="connsiteX37" fmla="*/ 1142975 w 1143255"/>
                  <a:gd name="connsiteY37" fmla="*/ 444758 h 1156386"/>
                  <a:gd name="connsiteX38" fmla="*/ 1141546 w 1143255"/>
                  <a:gd name="connsiteY38" fmla="*/ 447614 h 1156386"/>
                  <a:gd name="connsiteX39" fmla="*/ 1087259 w 1143255"/>
                  <a:gd name="connsiteY39" fmla="*/ 518289 h 1156386"/>
                  <a:gd name="connsiteX40" fmla="*/ 1031542 w 1143255"/>
                  <a:gd name="connsiteY40" fmla="*/ 518289 h 1156386"/>
                  <a:gd name="connsiteX41" fmla="*/ 967969 w 1143255"/>
                  <a:gd name="connsiteY41" fmla="*/ 471172 h 1156386"/>
                  <a:gd name="connsiteX42" fmla="*/ 966540 w 1143255"/>
                  <a:gd name="connsiteY42" fmla="*/ 475456 h 1156386"/>
                  <a:gd name="connsiteX43" fmla="*/ 918681 w 1143255"/>
                  <a:gd name="connsiteY43" fmla="*/ 578971 h 1156386"/>
                  <a:gd name="connsiteX44" fmla="*/ 840821 w 1143255"/>
                  <a:gd name="connsiteY44" fmla="*/ 562551 h 1156386"/>
                  <a:gd name="connsiteX45" fmla="*/ 836535 w 1143255"/>
                  <a:gd name="connsiteY45" fmla="*/ 565407 h 1156386"/>
                  <a:gd name="connsiteX46" fmla="*/ 922253 w 1143255"/>
                  <a:gd name="connsiteY46" fmla="*/ 637510 h 1156386"/>
                  <a:gd name="connsiteX47" fmla="*/ 926539 w 1143255"/>
                  <a:gd name="connsiteY47" fmla="*/ 638224 h 1156386"/>
                  <a:gd name="connsiteX48" fmla="*/ 854393 w 1143255"/>
                  <a:gd name="connsiteY48" fmla="*/ 753161 h 1156386"/>
                  <a:gd name="connsiteX49" fmla="*/ 827964 w 1143255"/>
                  <a:gd name="connsiteY49" fmla="*/ 883805 h 1156386"/>
                  <a:gd name="connsiteX50" fmla="*/ 715102 w 1143255"/>
                  <a:gd name="connsiteY50" fmla="*/ 1014448 h 1156386"/>
                  <a:gd name="connsiteX51" fmla="*/ 600098 w 1143255"/>
                  <a:gd name="connsiteY51" fmla="*/ 910219 h 1156386"/>
                  <a:gd name="connsiteX52" fmla="*/ 579383 w 1143255"/>
                  <a:gd name="connsiteY52" fmla="*/ 841685 h 1156386"/>
                  <a:gd name="connsiteX53" fmla="*/ 560811 w 1143255"/>
                  <a:gd name="connsiteY53" fmla="*/ 731031 h 1156386"/>
                  <a:gd name="connsiteX54" fmla="*/ 557954 w 1143255"/>
                  <a:gd name="connsiteY54" fmla="*/ 728889 h 1156386"/>
                  <a:gd name="connsiteX55" fmla="*/ 339374 w 1143255"/>
                  <a:gd name="connsiteY55" fmla="*/ 532567 h 1156386"/>
                  <a:gd name="connsiteX56" fmla="*/ 457950 w 1143255"/>
                  <a:gd name="connsiteY56" fmla="*/ 416202 h 1156386"/>
                  <a:gd name="connsiteX57" fmla="*/ 457950 w 1143255"/>
                  <a:gd name="connsiteY57" fmla="*/ 411919 h 1156386"/>
                  <a:gd name="connsiteX58" fmla="*/ 445807 w 1143255"/>
                  <a:gd name="connsiteY58" fmla="*/ 375510 h 1156386"/>
                  <a:gd name="connsiteX59" fmla="*/ 563668 w 1143255"/>
                  <a:gd name="connsiteY59" fmla="*/ 276278 h 1156386"/>
                  <a:gd name="connsiteX60" fmla="*/ 565097 w 1143255"/>
                  <a:gd name="connsiteY60" fmla="*/ 274850 h 1156386"/>
                  <a:gd name="connsiteX61" fmla="*/ 593669 w 1143255"/>
                  <a:gd name="connsiteY61" fmla="*/ 200605 h 1156386"/>
                  <a:gd name="connsiteX62" fmla="*/ 682244 w 1143255"/>
                  <a:gd name="connsiteY62" fmla="*/ 139210 h 1156386"/>
                  <a:gd name="connsiteX63" fmla="*/ 533667 w 1143255"/>
                  <a:gd name="connsiteY63" fmla="*/ 156344 h 1156386"/>
                  <a:gd name="connsiteX64" fmla="*/ 398662 w 1143255"/>
                  <a:gd name="connsiteY64" fmla="*/ 169908 h 1156386"/>
                  <a:gd name="connsiteX65" fmla="*/ 493666 w 1143255"/>
                  <a:gd name="connsiteY65" fmla="*/ 89951 h 1156386"/>
                  <a:gd name="connsiteX66" fmla="*/ 495094 w 1143255"/>
                  <a:gd name="connsiteY66" fmla="*/ 9281 h 1156386"/>
                  <a:gd name="connsiteX67" fmla="*/ 496523 w 1143255"/>
                  <a:gd name="connsiteY67" fmla="*/ 5711 h 1156386"/>
                  <a:gd name="connsiteX68" fmla="*/ 579383 w 1143255"/>
                  <a:gd name="connsiteY68" fmla="*/ 0 h 11563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</a:cxnLst>
                <a:rect l="l" t="t" r="r" b="b"/>
                <a:pathLst>
                  <a:path w="1143255" h="1156386">
                    <a:moveTo>
                      <a:pt x="533702" y="1074544"/>
                    </a:moveTo>
                    <a:cubicBezTo>
                      <a:pt x="599458" y="1078814"/>
                      <a:pt x="639484" y="1075967"/>
                      <a:pt x="678794" y="1144999"/>
                    </a:cubicBezTo>
                    <a:cubicBezTo>
                      <a:pt x="679509" y="1146423"/>
                      <a:pt x="678080" y="1148558"/>
                      <a:pt x="676650" y="1148558"/>
                    </a:cubicBezTo>
                    <a:cubicBezTo>
                      <a:pt x="645202" y="1153539"/>
                      <a:pt x="612323" y="1156386"/>
                      <a:pt x="579445" y="1156386"/>
                    </a:cubicBezTo>
                    <a:cubicBezTo>
                      <a:pt x="539419" y="1156386"/>
                      <a:pt x="500109" y="1152828"/>
                      <a:pt x="462942" y="1144999"/>
                    </a:cubicBezTo>
                    <a:cubicBezTo>
                      <a:pt x="430778" y="1137171"/>
                      <a:pt x="407192" y="1130054"/>
                      <a:pt x="401474" y="1128631"/>
                    </a:cubicBezTo>
                    <a:cubicBezTo>
                      <a:pt x="401474" y="1128631"/>
                      <a:pt x="400759" y="1128631"/>
                      <a:pt x="400759" y="1128631"/>
                    </a:cubicBezTo>
                    <a:cubicBezTo>
                      <a:pt x="401474" y="1127919"/>
                      <a:pt x="467945" y="1070985"/>
                      <a:pt x="533702" y="1074544"/>
                    </a:cubicBezTo>
                    <a:close/>
                    <a:moveTo>
                      <a:pt x="900936" y="803314"/>
                    </a:moveTo>
                    <a:cubicBezTo>
                      <a:pt x="900936" y="803314"/>
                      <a:pt x="901650" y="803314"/>
                      <a:pt x="901650" y="803314"/>
                    </a:cubicBezTo>
                    <a:cubicBezTo>
                      <a:pt x="961580" y="813294"/>
                      <a:pt x="945171" y="853212"/>
                      <a:pt x="916632" y="897408"/>
                    </a:cubicBezTo>
                    <a:cubicBezTo>
                      <a:pt x="892375" y="935188"/>
                      <a:pt x="863837" y="926634"/>
                      <a:pt x="856702" y="923070"/>
                    </a:cubicBezTo>
                    <a:cubicBezTo>
                      <a:pt x="855275" y="922357"/>
                      <a:pt x="855275" y="921644"/>
                      <a:pt x="855275" y="920219"/>
                    </a:cubicBezTo>
                    <a:cubicBezTo>
                      <a:pt x="857416" y="910952"/>
                      <a:pt x="865977" y="868895"/>
                      <a:pt x="865977" y="839669"/>
                    </a:cubicBezTo>
                    <a:cubicBezTo>
                      <a:pt x="865977" y="809017"/>
                      <a:pt x="896656" y="803314"/>
                      <a:pt x="900936" y="803314"/>
                    </a:cubicBezTo>
                    <a:close/>
                    <a:moveTo>
                      <a:pt x="8579" y="493395"/>
                    </a:moveTo>
                    <a:cubicBezTo>
                      <a:pt x="27167" y="495536"/>
                      <a:pt x="68633" y="506242"/>
                      <a:pt x="80787" y="552635"/>
                    </a:cubicBezTo>
                    <a:cubicBezTo>
                      <a:pt x="95800" y="611876"/>
                      <a:pt x="117963" y="687532"/>
                      <a:pt x="157999" y="711799"/>
                    </a:cubicBezTo>
                    <a:cubicBezTo>
                      <a:pt x="196605" y="734639"/>
                      <a:pt x="170867" y="850978"/>
                      <a:pt x="169438" y="858829"/>
                    </a:cubicBezTo>
                    <a:cubicBezTo>
                      <a:pt x="168723" y="859543"/>
                      <a:pt x="168723" y="859543"/>
                      <a:pt x="169438" y="860257"/>
                    </a:cubicBezTo>
                    <a:cubicBezTo>
                      <a:pt x="169438" y="860257"/>
                      <a:pt x="169438" y="860257"/>
                      <a:pt x="187311" y="997295"/>
                    </a:cubicBezTo>
                    <a:cubicBezTo>
                      <a:pt x="187311" y="999436"/>
                      <a:pt x="184451" y="1001577"/>
                      <a:pt x="183021" y="999436"/>
                    </a:cubicBezTo>
                    <a:cubicBezTo>
                      <a:pt x="70063" y="893803"/>
                      <a:pt x="0" y="744631"/>
                      <a:pt x="0" y="578330"/>
                    </a:cubicBezTo>
                    <a:cubicBezTo>
                      <a:pt x="0" y="550494"/>
                      <a:pt x="2145" y="522658"/>
                      <a:pt x="5719" y="495536"/>
                    </a:cubicBezTo>
                    <a:cubicBezTo>
                      <a:pt x="5719" y="494109"/>
                      <a:pt x="7149" y="493395"/>
                      <a:pt x="8579" y="493395"/>
                    </a:cubicBezTo>
                    <a:close/>
                    <a:moveTo>
                      <a:pt x="296585" y="74456"/>
                    </a:moveTo>
                    <a:cubicBezTo>
                      <a:pt x="298015" y="73029"/>
                      <a:pt x="300159" y="74456"/>
                      <a:pt x="300159" y="76598"/>
                    </a:cubicBezTo>
                    <a:cubicBezTo>
                      <a:pt x="300159" y="88730"/>
                      <a:pt x="300874" y="126555"/>
                      <a:pt x="317319" y="160812"/>
                    </a:cubicBezTo>
                    <a:cubicBezTo>
                      <a:pt x="337338" y="202919"/>
                      <a:pt x="325899" y="297125"/>
                      <a:pt x="272990" y="302121"/>
                    </a:cubicBezTo>
                    <a:cubicBezTo>
                      <a:pt x="220082" y="307117"/>
                      <a:pt x="153589" y="331382"/>
                      <a:pt x="137859" y="373489"/>
                    </a:cubicBezTo>
                    <a:cubicBezTo>
                      <a:pt x="124275" y="411314"/>
                      <a:pt x="47772" y="400609"/>
                      <a:pt x="32043" y="397754"/>
                    </a:cubicBezTo>
                    <a:cubicBezTo>
                      <a:pt x="30613" y="397754"/>
                      <a:pt x="29898" y="396327"/>
                      <a:pt x="30613" y="394899"/>
                    </a:cubicBezTo>
                    <a:cubicBezTo>
                      <a:pt x="30613" y="392758"/>
                      <a:pt x="32043" y="389190"/>
                      <a:pt x="33473" y="384908"/>
                    </a:cubicBezTo>
                    <a:cubicBezTo>
                      <a:pt x="80661" y="252163"/>
                      <a:pt x="175038" y="142256"/>
                      <a:pt x="296585" y="74456"/>
                    </a:cubicBezTo>
                    <a:close/>
                    <a:moveTo>
                      <a:pt x="579383" y="0"/>
                    </a:moveTo>
                    <a:cubicBezTo>
                      <a:pt x="777962" y="0"/>
                      <a:pt x="953682" y="99946"/>
                      <a:pt x="1057972" y="252720"/>
                    </a:cubicBezTo>
                    <a:cubicBezTo>
                      <a:pt x="1115117" y="341957"/>
                      <a:pt x="1137975" y="424769"/>
                      <a:pt x="1142975" y="442616"/>
                    </a:cubicBezTo>
                    <a:cubicBezTo>
                      <a:pt x="1142975" y="443330"/>
                      <a:pt x="1142975" y="444044"/>
                      <a:pt x="1142975" y="444758"/>
                    </a:cubicBezTo>
                    <a:cubicBezTo>
                      <a:pt x="1143689" y="445472"/>
                      <a:pt x="1142975" y="446900"/>
                      <a:pt x="1141546" y="447614"/>
                    </a:cubicBezTo>
                    <a:cubicBezTo>
                      <a:pt x="1133689" y="451897"/>
                      <a:pt x="1098688" y="474028"/>
                      <a:pt x="1087259" y="518289"/>
                    </a:cubicBezTo>
                    <a:cubicBezTo>
                      <a:pt x="1073687" y="567548"/>
                      <a:pt x="1047257" y="561123"/>
                      <a:pt x="1031542" y="518289"/>
                    </a:cubicBezTo>
                    <a:cubicBezTo>
                      <a:pt x="1020828" y="488306"/>
                      <a:pt x="987255" y="475456"/>
                      <a:pt x="967969" y="471172"/>
                    </a:cubicBezTo>
                    <a:cubicBezTo>
                      <a:pt x="965826" y="470458"/>
                      <a:pt x="963683" y="474028"/>
                      <a:pt x="966540" y="475456"/>
                    </a:cubicBezTo>
                    <a:cubicBezTo>
                      <a:pt x="1004398" y="503297"/>
                      <a:pt x="963683" y="540420"/>
                      <a:pt x="918681" y="578971"/>
                    </a:cubicBezTo>
                    <a:cubicBezTo>
                      <a:pt x="885108" y="607526"/>
                      <a:pt x="855822" y="581826"/>
                      <a:pt x="840821" y="562551"/>
                    </a:cubicBezTo>
                    <a:cubicBezTo>
                      <a:pt x="839393" y="560409"/>
                      <a:pt x="835821" y="562551"/>
                      <a:pt x="836535" y="565407"/>
                    </a:cubicBezTo>
                    <a:cubicBezTo>
                      <a:pt x="875822" y="671063"/>
                      <a:pt x="912252" y="647505"/>
                      <a:pt x="922253" y="637510"/>
                    </a:cubicBezTo>
                    <a:cubicBezTo>
                      <a:pt x="923681" y="636082"/>
                      <a:pt x="926539" y="636796"/>
                      <a:pt x="926539" y="638224"/>
                    </a:cubicBezTo>
                    <a:cubicBezTo>
                      <a:pt x="939396" y="691052"/>
                      <a:pt x="876537" y="716753"/>
                      <a:pt x="854393" y="753161"/>
                    </a:cubicBezTo>
                    <a:cubicBezTo>
                      <a:pt x="832964" y="790284"/>
                      <a:pt x="828678" y="879521"/>
                      <a:pt x="827964" y="883805"/>
                    </a:cubicBezTo>
                    <a:cubicBezTo>
                      <a:pt x="827249" y="887374"/>
                      <a:pt x="814392" y="955908"/>
                      <a:pt x="715102" y="1014448"/>
                    </a:cubicBezTo>
                    <a:cubicBezTo>
                      <a:pt x="613670" y="1073701"/>
                      <a:pt x="602241" y="941630"/>
                      <a:pt x="600098" y="910219"/>
                    </a:cubicBezTo>
                    <a:cubicBezTo>
                      <a:pt x="597955" y="879521"/>
                      <a:pt x="597955" y="850965"/>
                      <a:pt x="579383" y="841685"/>
                    </a:cubicBezTo>
                    <a:cubicBezTo>
                      <a:pt x="562240" y="833832"/>
                      <a:pt x="560811" y="746736"/>
                      <a:pt x="560811" y="731031"/>
                    </a:cubicBezTo>
                    <a:cubicBezTo>
                      <a:pt x="560811" y="730317"/>
                      <a:pt x="559382" y="728889"/>
                      <a:pt x="557954" y="728889"/>
                    </a:cubicBezTo>
                    <a:cubicBezTo>
                      <a:pt x="292944" y="695336"/>
                      <a:pt x="352232" y="609668"/>
                      <a:pt x="339374" y="532567"/>
                    </a:cubicBezTo>
                    <a:cubicBezTo>
                      <a:pt x="328660" y="471172"/>
                      <a:pt x="419377" y="430480"/>
                      <a:pt x="457950" y="416202"/>
                    </a:cubicBezTo>
                    <a:cubicBezTo>
                      <a:pt x="460093" y="415488"/>
                      <a:pt x="460093" y="412633"/>
                      <a:pt x="457950" y="411919"/>
                    </a:cubicBezTo>
                    <a:cubicBezTo>
                      <a:pt x="452236" y="408349"/>
                      <a:pt x="446521" y="399069"/>
                      <a:pt x="445807" y="375510"/>
                    </a:cubicBezTo>
                    <a:cubicBezTo>
                      <a:pt x="443664" y="325537"/>
                      <a:pt x="551525" y="281276"/>
                      <a:pt x="563668" y="276278"/>
                    </a:cubicBezTo>
                    <a:cubicBezTo>
                      <a:pt x="564383" y="276278"/>
                      <a:pt x="565097" y="275564"/>
                      <a:pt x="565097" y="274850"/>
                    </a:cubicBezTo>
                    <a:cubicBezTo>
                      <a:pt x="567954" y="265570"/>
                      <a:pt x="587241" y="200605"/>
                      <a:pt x="593669" y="200605"/>
                    </a:cubicBezTo>
                    <a:cubicBezTo>
                      <a:pt x="600098" y="200605"/>
                      <a:pt x="700102" y="167766"/>
                      <a:pt x="682244" y="139210"/>
                    </a:cubicBezTo>
                    <a:cubicBezTo>
                      <a:pt x="664386" y="109940"/>
                      <a:pt x="582955" y="129929"/>
                      <a:pt x="533667" y="156344"/>
                    </a:cubicBezTo>
                    <a:cubicBezTo>
                      <a:pt x="485094" y="182758"/>
                      <a:pt x="412234" y="204889"/>
                      <a:pt x="398662" y="169908"/>
                    </a:cubicBezTo>
                    <a:cubicBezTo>
                      <a:pt x="385805" y="134213"/>
                      <a:pt x="462950" y="105657"/>
                      <a:pt x="493666" y="89951"/>
                    </a:cubicBezTo>
                    <a:cubicBezTo>
                      <a:pt x="520095" y="76387"/>
                      <a:pt x="500095" y="22845"/>
                      <a:pt x="495094" y="9281"/>
                    </a:cubicBezTo>
                    <a:cubicBezTo>
                      <a:pt x="494380" y="7853"/>
                      <a:pt x="495094" y="6425"/>
                      <a:pt x="496523" y="5711"/>
                    </a:cubicBezTo>
                    <a:cubicBezTo>
                      <a:pt x="523667" y="2142"/>
                      <a:pt x="551525" y="0"/>
                      <a:pt x="579383" y="0"/>
                    </a:cubicBezTo>
                    <a:close/>
                  </a:path>
                </a:pathLst>
              </a:custGeom>
              <a:solidFill>
                <a:srgbClr val="2D716B"/>
              </a:solidFill>
              <a:ln>
                <a:solidFill>
                  <a:srgbClr val="2D716B"/>
                </a:solidFill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it-IT"/>
              </a:p>
            </p:txBody>
          </p:sp>
        </p:grpSp>
      </p:grpSp>
      <p:cxnSp>
        <p:nvCxnSpPr>
          <p:cNvPr id="14" name="Straight Arrow Connector 13">
            <a:extLst>
              <a:ext uri="{FF2B5EF4-FFF2-40B4-BE49-F238E27FC236}">
                <a16:creationId xmlns:a16="http://schemas.microsoft.com/office/drawing/2014/main" id="{236E15E8-55B3-0EDD-F751-CF6270B9FC24}"/>
              </a:ext>
            </a:extLst>
          </p:cNvPr>
          <p:cNvCxnSpPr>
            <a:cxnSpLocks/>
          </p:cNvCxnSpPr>
          <p:nvPr/>
        </p:nvCxnSpPr>
        <p:spPr>
          <a:xfrm>
            <a:off x="322933" y="3647836"/>
            <a:ext cx="1488399" cy="0"/>
          </a:xfrm>
          <a:prstGeom prst="straightConnector1">
            <a:avLst/>
          </a:prstGeom>
          <a:ln w="38100" cap="flat" cmpd="sng" algn="ctr">
            <a:solidFill>
              <a:srgbClr val="6E6F73"/>
            </a:solidFill>
            <a:prstDash val="solid"/>
            <a:round/>
            <a:headEnd type="none" w="med" len="med"/>
            <a:tailEnd type="triangle" w="med" len="med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15" name="TextBox 14">
            <a:extLst>
              <a:ext uri="{FF2B5EF4-FFF2-40B4-BE49-F238E27FC236}">
                <a16:creationId xmlns:a16="http://schemas.microsoft.com/office/drawing/2014/main" id="{3DB7A8AC-8BCC-B5F3-0891-8FD3AF094DBD}"/>
              </a:ext>
            </a:extLst>
          </p:cNvPr>
          <p:cNvSpPr txBox="1"/>
          <p:nvPr/>
        </p:nvSpPr>
        <p:spPr>
          <a:xfrm>
            <a:off x="366898" y="3041422"/>
            <a:ext cx="1488399" cy="606838"/>
          </a:xfrm>
          <a:prstGeom prst="rect">
            <a:avLst/>
          </a:prstGeom>
          <a:noFill/>
          <a:ln w="6350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it-IT" sz="1400" i="1" dirty="0">
                <a:solidFill>
                  <a:schemeClr val="tx1"/>
                </a:solidFill>
                <a:latin typeface="+mj-lt"/>
              </a:rPr>
              <a:t>142 kton di rifiuti urbani e speciali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FBF9CE9F-2522-F9D9-1AEB-AC74B096DB5C}"/>
              </a:ext>
            </a:extLst>
          </p:cNvPr>
          <p:cNvSpPr txBox="1"/>
          <p:nvPr/>
        </p:nvSpPr>
        <p:spPr>
          <a:xfrm>
            <a:off x="7946678" y="4439706"/>
            <a:ext cx="1177878" cy="459306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it-IT" sz="1400" i="1">
                <a:solidFill>
                  <a:schemeClr val="tx1"/>
                </a:solidFill>
                <a:latin typeface="+mj-lt"/>
              </a:rPr>
              <a:t>Impianto </a:t>
            </a:r>
          </a:p>
          <a:p>
            <a:pPr algn="ctr"/>
            <a:r>
              <a:rPr lang="it-IT" sz="1400" i="1">
                <a:solidFill>
                  <a:schemeClr val="tx1"/>
                </a:solidFill>
                <a:latin typeface="+mj-lt"/>
              </a:rPr>
              <a:t>Geotermico</a:t>
            </a:r>
          </a:p>
        </p:txBody>
      </p:sp>
      <p:cxnSp>
        <p:nvCxnSpPr>
          <p:cNvPr id="24" name="Connector: Elbow 23">
            <a:extLst>
              <a:ext uri="{FF2B5EF4-FFF2-40B4-BE49-F238E27FC236}">
                <a16:creationId xmlns:a16="http://schemas.microsoft.com/office/drawing/2014/main" id="{9341D69F-EE05-9EB9-8E64-4F013A5285D4}"/>
              </a:ext>
            </a:extLst>
          </p:cNvPr>
          <p:cNvCxnSpPr>
            <a:cxnSpLocks/>
          </p:cNvCxnSpPr>
          <p:nvPr/>
        </p:nvCxnSpPr>
        <p:spPr>
          <a:xfrm rot="10800000">
            <a:off x="5588913" y="4453123"/>
            <a:ext cx="2592068" cy="700332"/>
          </a:xfrm>
          <a:prstGeom prst="bentConnector3">
            <a:avLst>
              <a:gd name="adj1" fmla="val 99930"/>
            </a:avLst>
          </a:prstGeom>
          <a:ln w="38100" cap="flat" cmpd="sng" algn="ctr">
            <a:solidFill>
              <a:srgbClr val="295E7E"/>
            </a:solidFill>
            <a:prstDash val="solid"/>
            <a:round/>
            <a:headEnd type="none" w="med" len="med"/>
            <a:tailEnd type="triangle" w="med" len="med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27" name="TextBox 26">
            <a:extLst>
              <a:ext uri="{FF2B5EF4-FFF2-40B4-BE49-F238E27FC236}">
                <a16:creationId xmlns:a16="http://schemas.microsoft.com/office/drawing/2014/main" id="{A10DA0C5-BB94-556D-4C9D-A9440843F6B8}"/>
              </a:ext>
            </a:extLst>
          </p:cNvPr>
          <p:cNvSpPr txBox="1"/>
          <p:nvPr/>
        </p:nvSpPr>
        <p:spPr>
          <a:xfrm>
            <a:off x="5634693" y="4861971"/>
            <a:ext cx="1823030" cy="276999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it-IT" sz="1400" i="1">
                <a:solidFill>
                  <a:srgbClr val="295E7E"/>
                </a:solidFill>
                <a:latin typeface="+mj-lt"/>
              </a:rPr>
              <a:t>Calore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7BB83B7C-7440-C713-1D3C-6754134610DB}"/>
              </a:ext>
            </a:extLst>
          </p:cNvPr>
          <p:cNvSpPr txBox="1"/>
          <p:nvPr/>
        </p:nvSpPr>
        <p:spPr>
          <a:xfrm>
            <a:off x="2892504" y="4480433"/>
            <a:ext cx="2183124" cy="530681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0" rIns="7200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it-IT" sz="1400" i="1">
                <a:solidFill>
                  <a:srgbClr val="ED7F00"/>
                </a:solidFill>
                <a:latin typeface="+mj-lt"/>
              </a:rPr>
              <a:t>Energia Elettrica </a:t>
            </a:r>
          </a:p>
        </p:txBody>
      </p:sp>
      <p:cxnSp>
        <p:nvCxnSpPr>
          <p:cNvPr id="30" name="Connector: Elbow 29">
            <a:extLst>
              <a:ext uri="{FF2B5EF4-FFF2-40B4-BE49-F238E27FC236}">
                <a16:creationId xmlns:a16="http://schemas.microsoft.com/office/drawing/2014/main" id="{A0A7D295-997F-5054-FAFC-4F17189136E8}"/>
              </a:ext>
            </a:extLst>
          </p:cNvPr>
          <p:cNvCxnSpPr>
            <a:cxnSpLocks/>
          </p:cNvCxnSpPr>
          <p:nvPr/>
        </p:nvCxnSpPr>
        <p:spPr>
          <a:xfrm rot="16200000" flipH="1">
            <a:off x="4194572" y="3147112"/>
            <a:ext cx="11517" cy="2610133"/>
          </a:xfrm>
          <a:prstGeom prst="bentConnector3">
            <a:avLst>
              <a:gd name="adj1" fmla="val 3703638"/>
            </a:avLst>
          </a:prstGeom>
          <a:ln w="38100" cap="flat" cmpd="sng" algn="ctr">
            <a:solidFill>
              <a:srgbClr val="ED7F00"/>
            </a:solidFill>
            <a:prstDash val="solid"/>
            <a:round/>
            <a:headEnd type="none" w="med" len="med"/>
            <a:tailEnd type="triangle" w="med" len="med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25" name="Straight Arrow Connector 16">
            <a:extLst>
              <a:ext uri="{FF2B5EF4-FFF2-40B4-BE49-F238E27FC236}">
                <a16:creationId xmlns:a16="http://schemas.microsoft.com/office/drawing/2014/main" id="{05301C2A-A3B4-B8D0-3034-143E7605AF4F}"/>
              </a:ext>
            </a:extLst>
          </p:cNvPr>
          <p:cNvCxnSpPr>
            <a:cxnSpLocks/>
          </p:cNvCxnSpPr>
          <p:nvPr/>
        </p:nvCxnSpPr>
        <p:spPr>
          <a:xfrm flipV="1">
            <a:off x="3095532" y="2249852"/>
            <a:ext cx="0" cy="370487"/>
          </a:xfrm>
          <a:prstGeom prst="straightConnector1">
            <a:avLst/>
          </a:prstGeom>
          <a:ln w="38100" cap="flat" cmpd="sng" algn="ctr">
            <a:solidFill>
              <a:srgbClr val="009670"/>
            </a:solidFill>
            <a:prstDash val="sysDot"/>
            <a:round/>
            <a:headEnd type="none" w="med" len="med"/>
            <a:tailEnd type="triangle" w="med" len="med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31" name="TextBox 170">
            <a:extLst>
              <a:ext uri="{FF2B5EF4-FFF2-40B4-BE49-F238E27FC236}">
                <a16:creationId xmlns:a16="http://schemas.microsoft.com/office/drawing/2014/main" id="{1D5F5F6D-1087-3168-7422-E33EB665C5FE}"/>
              </a:ext>
            </a:extLst>
          </p:cNvPr>
          <p:cNvSpPr txBox="1"/>
          <p:nvPr/>
        </p:nvSpPr>
        <p:spPr>
          <a:xfrm>
            <a:off x="2119475" y="1980063"/>
            <a:ext cx="1105637" cy="250947"/>
          </a:xfrm>
          <a:prstGeom prst="roundRect">
            <a:avLst/>
          </a:prstGeom>
          <a:solidFill>
            <a:srgbClr val="FFFFFF"/>
          </a:solidFill>
          <a:ln w="6350" cap="rnd">
            <a:solidFill>
              <a:srgbClr val="6E6F73"/>
            </a:solidFill>
            <a:prstDash val="solid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it-IT" sz="1400" i="1">
                <a:solidFill>
                  <a:schemeClr val="tx1"/>
                </a:solidFill>
                <a:latin typeface="+mj-lt"/>
              </a:rPr>
              <a:t>71 kton CO</a:t>
            </a:r>
            <a:r>
              <a:rPr lang="it-IT" sz="1400" i="1" baseline="-25000">
                <a:solidFill>
                  <a:schemeClr val="tx1"/>
                </a:solidFill>
                <a:latin typeface="+mj-lt"/>
              </a:rPr>
              <a:t>2</a:t>
            </a:r>
          </a:p>
        </p:txBody>
      </p:sp>
      <p:sp>
        <p:nvSpPr>
          <p:cNvPr id="34" name="TextBox 20">
            <a:extLst>
              <a:ext uri="{FF2B5EF4-FFF2-40B4-BE49-F238E27FC236}">
                <a16:creationId xmlns:a16="http://schemas.microsoft.com/office/drawing/2014/main" id="{37B99822-2370-D0E8-15FC-ECAC3C6021C9}"/>
              </a:ext>
            </a:extLst>
          </p:cNvPr>
          <p:cNvSpPr txBox="1"/>
          <p:nvPr/>
        </p:nvSpPr>
        <p:spPr>
          <a:xfrm>
            <a:off x="514350" y="746203"/>
            <a:ext cx="11163300" cy="1162181"/>
          </a:xfrm>
          <a:prstGeom prst="rect">
            <a:avLst/>
          </a:prstGeom>
          <a:noFill/>
          <a:ln w="12700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0" rIns="10800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just">
              <a:lnSpc>
                <a:spcPct val="150000"/>
              </a:lnSpc>
            </a:pPr>
            <a:r>
              <a:rPr lang="it-IT" b="1" u="sng" dirty="0" err="1">
                <a:solidFill>
                  <a:srgbClr val="30636E"/>
                </a:solidFill>
                <a:latin typeface="Bahnschrift Light SemiCondensed" panose="020B0502040204020203" pitchFamily="34" charset="0"/>
              </a:rPr>
              <a:t>CapturEste</a:t>
            </a:r>
            <a:r>
              <a:rPr lang="it-IT" b="1" u="sng" dirty="0">
                <a:solidFill>
                  <a:srgbClr val="30636E"/>
                </a:solidFill>
                <a:latin typeface="Bahnschrift Light SemiCondensed" panose="020B0502040204020203" pitchFamily="34" charset="0"/>
              </a:rPr>
              <a:t> vuole essere la prima iniziativa industriale in Italia di cattura della CO</a:t>
            </a:r>
            <a:r>
              <a:rPr lang="it-IT" b="1" u="sng" baseline="-25000" dirty="0">
                <a:solidFill>
                  <a:srgbClr val="30636E"/>
                </a:solidFill>
                <a:latin typeface="Bahnschrift Light SemiCondensed" panose="020B0502040204020203" pitchFamily="34" charset="0"/>
              </a:rPr>
              <a:t>2</a:t>
            </a:r>
            <a:r>
              <a:rPr lang="it-IT" b="1" u="sng" dirty="0">
                <a:solidFill>
                  <a:srgbClr val="30636E"/>
                </a:solidFill>
                <a:latin typeface="Bahnschrift Light SemiCondensed" panose="020B0502040204020203" pitchFamily="34" charset="0"/>
              </a:rPr>
              <a:t> applicata al settore dei WTE.</a:t>
            </a:r>
          </a:p>
          <a:p>
            <a:pPr algn="just"/>
            <a:r>
              <a:rPr lang="it-IT" b="1" dirty="0">
                <a:solidFill>
                  <a:srgbClr val="30636E"/>
                </a:solidFill>
                <a:latin typeface="Bahnschrift Light SemiCondensed" panose="020B0502040204020203" pitchFamily="34" charset="0"/>
              </a:rPr>
              <a:t>Il termovalorizzatore di Ferrara emette in totale ca. 142 kton/anno da due linee gemelle di cui 64 kton/anno di CO2 fossile e 78 kton/anno di CO</a:t>
            </a:r>
            <a:r>
              <a:rPr lang="it-IT" b="1" baseline="-25000" dirty="0">
                <a:solidFill>
                  <a:srgbClr val="30636E"/>
                </a:solidFill>
                <a:latin typeface="Bahnschrift Light SemiCondensed" panose="020B0502040204020203" pitchFamily="34" charset="0"/>
              </a:rPr>
              <a:t>2</a:t>
            </a:r>
            <a:r>
              <a:rPr lang="it-IT" b="1" dirty="0">
                <a:solidFill>
                  <a:srgbClr val="30636E"/>
                </a:solidFill>
                <a:latin typeface="Bahnschrift Light SemiCondensed" panose="020B0502040204020203" pitchFamily="34" charset="0"/>
              </a:rPr>
              <a:t> biogenica: la </a:t>
            </a:r>
            <a:r>
              <a:rPr lang="it-IT" b="1" dirty="0">
                <a:solidFill>
                  <a:srgbClr val="009670"/>
                </a:solidFill>
                <a:latin typeface="Bahnschrift Light SemiCondensed" panose="020B0502040204020203" pitchFamily="34" charset="0"/>
              </a:rPr>
              <a:t>cattura della CO</a:t>
            </a:r>
            <a:r>
              <a:rPr lang="it-IT" b="1" baseline="-25000" dirty="0">
                <a:solidFill>
                  <a:srgbClr val="009670"/>
                </a:solidFill>
                <a:latin typeface="Bahnschrift Light SemiCondensed" panose="020B0502040204020203" pitchFamily="34" charset="0"/>
              </a:rPr>
              <a:t>2</a:t>
            </a:r>
            <a:r>
              <a:rPr lang="it-IT" b="1" dirty="0">
                <a:solidFill>
                  <a:srgbClr val="30636E"/>
                </a:solidFill>
                <a:latin typeface="Bahnschrift Light SemiCondensed" panose="020B0502040204020203" pitchFamily="34" charset="0"/>
              </a:rPr>
              <a:t> renderà </a:t>
            </a:r>
            <a:r>
              <a:rPr lang="it-IT" b="1" dirty="0">
                <a:solidFill>
                  <a:srgbClr val="009670"/>
                </a:solidFill>
                <a:latin typeface="Bahnschrift Light SemiCondensed" panose="020B0502040204020203" pitchFamily="34" charset="0"/>
              </a:rPr>
              <a:t>sostenibile</a:t>
            </a:r>
            <a:r>
              <a:rPr lang="it-IT" b="1" dirty="0">
                <a:solidFill>
                  <a:srgbClr val="30636E"/>
                </a:solidFill>
                <a:latin typeface="Bahnschrift Light SemiCondensed" panose="020B0502040204020203" pitchFamily="34" charset="0"/>
              </a:rPr>
              <a:t> l'intera </a:t>
            </a:r>
            <a:r>
              <a:rPr lang="it-IT" b="1" dirty="0">
                <a:solidFill>
                  <a:srgbClr val="009670"/>
                </a:solidFill>
                <a:latin typeface="Bahnschrift Light SemiCondensed" panose="020B0502040204020203" pitchFamily="34" charset="0"/>
              </a:rPr>
              <a:t>produzione di energia</a:t>
            </a:r>
          </a:p>
        </p:txBody>
      </p:sp>
      <p:cxnSp>
        <p:nvCxnSpPr>
          <p:cNvPr id="41" name="Connector: Elbow 29">
            <a:extLst>
              <a:ext uri="{FF2B5EF4-FFF2-40B4-BE49-F238E27FC236}">
                <a16:creationId xmlns:a16="http://schemas.microsoft.com/office/drawing/2014/main" id="{CA37C0AC-72C4-E913-696C-3874AB80536F}"/>
              </a:ext>
            </a:extLst>
          </p:cNvPr>
          <p:cNvCxnSpPr>
            <a:cxnSpLocks/>
          </p:cNvCxnSpPr>
          <p:nvPr/>
        </p:nvCxnSpPr>
        <p:spPr>
          <a:xfrm>
            <a:off x="3712601" y="2724917"/>
            <a:ext cx="1372829" cy="1062221"/>
          </a:xfrm>
          <a:prstGeom prst="bentConnector3">
            <a:avLst>
              <a:gd name="adj1" fmla="val 50000"/>
            </a:avLst>
          </a:prstGeom>
          <a:ln w="38100" cap="flat" cmpd="sng" algn="ctr">
            <a:solidFill>
              <a:srgbClr val="009670"/>
            </a:solidFill>
            <a:prstDash val="sysDot"/>
            <a:round/>
            <a:headEnd type="none" w="med" len="med"/>
            <a:tailEnd type="triangle" w="med" len="med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grpSp>
        <p:nvGrpSpPr>
          <p:cNvPr id="117" name="bcgIcons_Atmospheric CO2">
            <a:extLst>
              <a:ext uri="{FF2B5EF4-FFF2-40B4-BE49-F238E27FC236}">
                <a16:creationId xmlns:a16="http://schemas.microsoft.com/office/drawing/2014/main" id="{B3A044C2-1975-3496-8B57-54A59E0C8AD9}"/>
              </a:ext>
            </a:extLst>
          </p:cNvPr>
          <p:cNvGrpSpPr>
            <a:grpSpLocks noChangeAspect="1"/>
          </p:cNvGrpSpPr>
          <p:nvPr/>
        </p:nvGrpSpPr>
        <p:grpSpPr>
          <a:xfrm>
            <a:off x="2887956" y="2449713"/>
            <a:ext cx="468715" cy="479921"/>
            <a:chOff x="5273675" y="2606675"/>
            <a:chExt cx="1644650" cy="1644650"/>
          </a:xfrm>
        </p:grpSpPr>
        <p:sp>
          <p:nvSpPr>
            <p:cNvPr id="123" name="AutoShape 9">
              <a:extLst>
                <a:ext uri="{FF2B5EF4-FFF2-40B4-BE49-F238E27FC236}">
                  <a16:creationId xmlns:a16="http://schemas.microsoft.com/office/drawing/2014/main" id="{77AAE38B-B7B6-D136-CA38-A387C7C0116E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5273675" y="2606675"/>
              <a:ext cx="1644650" cy="16446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News Gothic MT"/>
                <a:ea typeface="+mn-ea"/>
                <a:cs typeface="+mn-cs"/>
              </a:endParaRPr>
            </a:p>
          </p:txBody>
        </p:sp>
        <p:grpSp>
          <p:nvGrpSpPr>
            <p:cNvPr id="124" name="Group 63">
              <a:extLst>
                <a:ext uri="{FF2B5EF4-FFF2-40B4-BE49-F238E27FC236}">
                  <a16:creationId xmlns:a16="http://schemas.microsoft.com/office/drawing/2014/main" id="{6C88EDC0-206F-644B-B172-D563E444156F}"/>
                </a:ext>
              </a:extLst>
            </p:cNvPr>
            <p:cNvGrpSpPr/>
            <p:nvPr/>
          </p:nvGrpSpPr>
          <p:grpSpPr>
            <a:xfrm>
              <a:off x="5449888" y="2982913"/>
              <a:ext cx="1292225" cy="892175"/>
              <a:chOff x="5449888" y="2982913"/>
              <a:chExt cx="1292225" cy="892175"/>
            </a:xfrm>
          </p:grpSpPr>
          <p:sp>
            <p:nvSpPr>
              <p:cNvPr id="125" name="Freeform 5">
                <a:extLst>
                  <a:ext uri="{FF2B5EF4-FFF2-40B4-BE49-F238E27FC236}">
                    <a16:creationId xmlns:a16="http://schemas.microsoft.com/office/drawing/2014/main" id="{BC853D58-288A-E39B-1561-9155AAD06A4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49888" y="2982913"/>
                <a:ext cx="1292225" cy="892175"/>
              </a:xfrm>
              <a:custGeom>
                <a:avLst/>
                <a:gdLst>
                  <a:gd name="connsiteX0" fmla="*/ 479562 w 1292225"/>
                  <a:gd name="connsiteY0" fmla="*/ 30162 h 892175"/>
                  <a:gd name="connsiteX1" fmla="*/ 209494 w 1292225"/>
                  <a:gd name="connsiteY1" fmla="*/ 297440 h 892175"/>
                  <a:gd name="connsiteX2" fmla="*/ 89463 w 1292225"/>
                  <a:gd name="connsiteY2" fmla="*/ 371049 h 892175"/>
                  <a:gd name="connsiteX3" fmla="*/ 30162 w 1292225"/>
                  <a:gd name="connsiteY3" fmla="*/ 528986 h 892175"/>
                  <a:gd name="connsiteX4" fmla="*/ 30162 w 1292225"/>
                  <a:gd name="connsiteY4" fmla="*/ 540421 h 892175"/>
                  <a:gd name="connsiteX5" fmla="*/ 30877 w 1292225"/>
                  <a:gd name="connsiteY5" fmla="*/ 543279 h 892175"/>
                  <a:gd name="connsiteX6" fmla="*/ 30877 w 1292225"/>
                  <a:gd name="connsiteY6" fmla="*/ 543994 h 892175"/>
                  <a:gd name="connsiteX7" fmla="*/ 30877 w 1292225"/>
                  <a:gd name="connsiteY7" fmla="*/ 551855 h 892175"/>
                  <a:gd name="connsiteX8" fmla="*/ 31591 w 1292225"/>
                  <a:gd name="connsiteY8" fmla="*/ 555428 h 892175"/>
                  <a:gd name="connsiteX9" fmla="*/ 32306 w 1292225"/>
                  <a:gd name="connsiteY9" fmla="*/ 563289 h 892175"/>
                  <a:gd name="connsiteX10" fmla="*/ 33020 w 1292225"/>
                  <a:gd name="connsiteY10" fmla="*/ 564004 h 892175"/>
                  <a:gd name="connsiteX11" fmla="*/ 33020 w 1292225"/>
                  <a:gd name="connsiteY11" fmla="*/ 566863 h 892175"/>
                  <a:gd name="connsiteX12" fmla="*/ 34449 w 1292225"/>
                  <a:gd name="connsiteY12" fmla="*/ 575438 h 892175"/>
                  <a:gd name="connsiteX13" fmla="*/ 35164 w 1292225"/>
                  <a:gd name="connsiteY13" fmla="*/ 577582 h 892175"/>
                  <a:gd name="connsiteX14" fmla="*/ 37307 w 1292225"/>
                  <a:gd name="connsiteY14" fmla="*/ 588302 h 892175"/>
                  <a:gd name="connsiteX15" fmla="*/ 38021 w 1292225"/>
                  <a:gd name="connsiteY15" fmla="*/ 590446 h 892175"/>
                  <a:gd name="connsiteX16" fmla="*/ 38736 w 1292225"/>
                  <a:gd name="connsiteY16" fmla="*/ 591161 h 892175"/>
                  <a:gd name="connsiteX17" fmla="*/ 40879 w 1292225"/>
                  <a:gd name="connsiteY17" fmla="*/ 599022 h 892175"/>
                  <a:gd name="connsiteX18" fmla="*/ 41594 w 1292225"/>
                  <a:gd name="connsiteY18" fmla="*/ 602595 h 892175"/>
                  <a:gd name="connsiteX19" fmla="*/ 44452 w 1292225"/>
                  <a:gd name="connsiteY19" fmla="*/ 609741 h 892175"/>
                  <a:gd name="connsiteX20" fmla="*/ 44452 w 1292225"/>
                  <a:gd name="connsiteY20" fmla="*/ 610456 h 892175"/>
                  <a:gd name="connsiteX21" fmla="*/ 45166 w 1292225"/>
                  <a:gd name="connsiteY21" fmla="*/ 613315 h 892175"/>
                  <a:gd name="connsiteX22" fmla="*/ 48024 w 1292225"/>
                  <a:gd name="connsiteY22" fmla="*/ 620461 h 892175"/>
                  <a:gd name="connsiteX23" fmla="*/ 48738 w 1292225"/>
                  <a:gd name="connsiteY23" fmla="*/ 621176 h 892175"/>
                  <a:gd name="connsiteX24" fmla="*/ 49453 w 1292225"/>
                  <a:gd name="connsiteY24" fmla="*/ 623320 h 892175"/>
                  <a:gd name="connsiteX25" fmla="*/ 53740 w 1292225"/>
                  <a:gd name="connsiteY25" fmla="*/ 633325 h 892175"/>
                  <a:gd name="connsiteX26" fmla="*/ 55169 w 1292225"/>
                  <a:gd name="connsiteY26" fmla="*/ 634754 h 892175"/>
                  <a:gd name="connsiteX27" fmla="*/ 58741 w 1292225"/>
                  <a:gd name="connsiteY27" fmla="*/ 642615 h 892175"/>
                  <a:gd name="connsiteX28" fmla="*/ 60170 w 1292225"/>
                  <a:gd name="connsiteY28" fmla="*/ 645474 h 892175"/>
                  <a:gd name="connsiteX29" fmla="*/ 60884 w 1292225"/>
                  <a:gd name="connsiteY29" fmla="*/ 645474 h 892175"/>
                  <a:gd name="connsiteX30" fmla="*/ 64457 w 1292225"/>
                  <a:gd name="connsiteY30" fmla="*/ 651906 h 892175"/>
                  <a:gd name="connsiteX31" fmla="*/ 66600 w 1292225"/>
                  <a:gd name="connsiteY31" fmla="*/ 655479 h 892175"/>
                  <a:gd name="connsiteX32" fmla="*/ 70172 w 1292225"/>
                  <a:gd name="connsiteY32" fmla="*/ 661196 h 892175"/>
                  <a:gd name="connsiteX33" fmla="*/ 70887 w 1292225"/>
                  <a:gd name="connsiteY33" fmla="*/ 661911 h 892175"/>
                  <a:gd name="connsiteX34" fmla="*/ 72316 w 1292225"/>
                  <a:gd name="connsiteY34" fmla="*/ 664055 h 892175"/>
                  <a:gd name="connsiteX35" fmla="*/ 78032 w 1292225"/>
                  <a:gd name="connsiteY35" fmla="*/ 672630 h 892175"/>
                  <a:gd name="connsiteX36" fmla="*/ 78746 w 1292225"/>
                  <a:gd name="connsiteY36" fmla="*/ 673345 h 892175"/>
                  <a:gd name="connsiteX37" fmla="*/ 85176 w 1292225"/>
                  <a:gd name="connsiteY37" fmla="*/ 681206 h 892175"/>
                  <a:gd name="connsiteX38" fmla="*/ 86605 w 1292225"/>
                  <a:gd name="connsiteY38" fmla="*/ 683350 h 892175"/>
                  <a:gd name="connsiteX39" fmla="*/ 87320 w 1292225"/>
                  <a:gd name="connsiteY39" fmla="*/ 684065 h 892175"/>
                  <a:gd name="connsiteX40" fmla="*/ 91606 w 1292225"/>
                  <a:gd name="connsiteY40" fmla="*/ 689067 h 892175"/>
                  <a:gd name="connsiteX41" fmla="*/ 94464 w 1292225"/>
                  <a:gd name="connsiteY41" fmla="*/ 691926 h 892175"/>
                  <a:gd name="connsiteX42" fmla="*/ 99466 w 1292225"/>
                  <a:gd name="connsiteY42" fmla="*/ 697643 h 892175"/>
                  <a:gd name="connsiteX43" fmla="*/ 100180 w 1292225"/>
                  <a:gd name="connsiteY43" fmla="*/ 697643 h 892175"/>
                  <a:gd name="connsiteX44" fmla="*/ 102323 w 1292225"/>
                  <a:gd name="connsiteY44" fmla="*/ 699787 h 892175"/>
                  <a:gd name="connsiteX45" fmla="*/ 108039 w 1292225"/>
                  <a:gd name="connsiteY45" fmla="*/ 705504 h 892175"/>
                  <a:gd name="connsiteX46" fmla="*/ 108754 w 1292225"/>
                  <a:gd name="connsiteY46" fmla="*/ 706219 h 892175"/>
                  <a:gd name="connsiteX47" fmla="*/ 109468 w 1292225"/>
                  <a:gd name="connsiteY47" fmla="*/ 706934 h 892175"/>
                  <a:gd name="connsiteX48" fmla="*/ 118042 w 1292225"/>
                  <a:gd name="connsiteY48" fmla="*/ 714080 h 892175"/>
                  <a:gd name="connsiteX49" fmla="*/ 119471 w 1292225"/>
                  <a:gd name="connsiteY49" fmla="*/ 715509 h 892175"/>
                  <a:gd name="connsiteX50" fmla="*/ 120185 w 1292225"/>
                  <a:gd name="connsiteY50" fmla="*/ 716224 h 892175"/>
                  <a:gd name="connsiteX51" fmla="*/ 125901 w 1292225"/>
                  <a:gd name="connsiteY51" fmla="*/ 720512 h 892175"/>
                  <a:gd name="connsiteX52" fmla="*/ 128759 w 1292225"/>
                  <a:gd name="connsiteY52" fmla="*/ 722656 h 892175"/>
                  <a:gd name="connsiteX53" fmla="*/ 129473 w 1292225"/>
                  <a:gd name="connsiteY53" fmla="*/ 723370 h 892175"/>
                  <a:gd name="connsiteX54" fmla="*/ 135189 w 1292225"/>
                  <a:gd name="connsiteY54" fmla="*/ 726944 h 892175"/>
                  <a:gd name="connsiteX55" fmla="*/ 135189 w 1292225"/>
                  <a:gd name="connsiteY55" fmla="*/ 727658 h 892175"/>
                  <a:gd name="connsiteX56" fmla="*/ 138047 w 1292225"/>
                  <a:gd name="connsiteY56" fmla="*/ 729088 h 892175"/>
                  <a:gd name="connsiteX57" fmla="*/ 144477 w 1292225"/>
                  <a:gd name="connsiteY57" fmla="*/ 733376 h 892175"/>
                  <a:gd name="connsiteX58" fmla="*/ 145192 w 1292225"/>
                  <a:gd name="connsiteY58" fmla="*/ 733376 h 892175"/>
                  <a:gd name="connsiteX59" fmla="*/ 147335 w 1292225"/>
                  <a:gd name="connsiteY59" fmla="*/ 734805 h 892175"/>
                  <a:gd name="connsiteX60" fmla="*/ 156623 w 1292225"/>
                  <a:gd name="connsiteY60" fmla="*/ 739807 h 892175"/>
                  <a:gd name="connsiteX61" fmla="*/ 158766 w 1292225"/>
                  <a:gd name="connsiteY61" fmla="*/ 741237 h 892175"/>
                  <a:gd name="connsiteX62" fmla="*/ 165911 w 1292225"/>
                  <a:gd name="connsiteY62" fmla="*/ 744810 h 892175"/>
                  <a:gd name="connsiteX63" fmla="*/ 168769 w 1292225"/>
                  <a:gd name="connsiteY63" fmla="*/ 746239 h 892175"/>
                  <a:gd name="connsiteX64" fmla="*/ 169483 w 1292225"/>
                  <a:gd name="connsiteY64" fmla="*/ 746954 h 892175"/>
                  <a:gd name="connsiteX65" fmla="*/ 175914 w 1292225"/>
                  <a:gd name="connsiteY65" fmla="*/ 749812 h 892175"/>
                  <a:gd name="connsiteX66" fmla="*/ 180200 w 1292225"/>
                  <a:gd name="connsiteY66" fmla="*/ 751242 h 892175"/>
                  <a:gd name="connsiteX67" fmla="*/ 186631 w 1292225"/>
                  <a:gd name="connsiteY67" fmla="*/ 754100 h 892175"/>
                  <a:gd name="connsiteX68" fmla="*/ 187345 w 1292225"/>
                  <a:gd name="connsiteY68" fmla="*/ 754100 h 892175"/>
                  <a:gd name="connsiteX69" fmla="*/ 189488 w 1292225"/>
                  <a:gd name="connsiteY69" fmla="*/ 754815 h 892175"/>
                  <a:gd name="connsiteX70" fmla="*/ 191632 w 1292225"/>
                  <a:gd name="connsiteY70" fmla="*/ 757674 h 892175"/>
                  <a:gd name="connsiteX71" fmla="*/ 198062 w 1292225"/>
                  <a:gd name="connsiteY71" fmla="*/ 765535 h 892175"/>
                  <a:gd name="connsiteX72" fmla="*/ 199491 w 1292225"/>
                  <a:gd name="connsiteY72" fmla="*/ 767679 h 892175"/>
                  <a:gd name="connsiteX73" fmla="*/ 200206 w 1292225"/>
                  <a:gd name="connsiteY73" fmla="*/ 768393 h 892175"/>
                  <a:gd name="connsiteX74" fmla="*/ 205921 w 1292225"/>
                  <a:gd name="connsiteY74" fmla="*/ 774825 h 892175"/>
                  <a:gd name="connsiteX75" fmla="*/ 207350 w 1292225"/>
                  <a:gd name="connsiteY75" fmla="*/ 776969 h 892175"/>
                  <a:gd name="connsiteX76" fmla="*/ 214495 w 1292225"/>
                  <a:gd name="connsiteY76" fmla="*/ 784116 h 892175"/>
                  <a:gd name="connsiteX77" fmla="*/ 217353 w 1292225"/>
                  <a:gd name="connsiteY77" fmla="*/ 786974 h 892175"/>
                  <a:gd name="connsiteX78" fmla="*/ 224497 w 1292225"/>
                  <a:gd name="connsiteY78" fmla="*/ 793406 h 892175"/>
                  <a:gd name="connsiteX79" fmla="*/ 225926 w 1292225"/>
                  <a:gd name="connsiteY79" fmla="*/ 795550 h 892175"/>
                  <a:gd name="connsiteX80" fmla="*/ 233071 w 1292225"/>
                  <a:gd name="connsiteY80" fmla="*/ 801267 h 892175"/>
                  <a:gd name="connsiteX81" fmla="*/ 235214 w 1292225"/>
                  <a:gd name="connsiteY81" fmla="*/ 803411 h 892175"/>
                  <a:gd name="connsiteX82" fmla="*/ 243788 w 1292225"/>
                  <a:gd name="connsiteY82" fmla="*/ 809128 h 892175"/>
                  <a:gd name="connsiteX83" fmla="*/ 245217 w 1292225"/>
                  <a:gd name="connsiteY83" fmla="*/ 810558 h 892175"/>
                  <a:gd name="connsiteX84" fmla="*/ 245931 w 1292225"/>
                  <a:gd name="connsiteY84" fmla="*/ 811272 h 892175"/>
                  <a:gd name="connsiteX85" fmla="*/ 253076 w 1292225"/>
                  <a:gd name="connsiteY85" fmla="*/ 816275 h 892175"/>
                  <a:gd name="connsiteX86" fmla="*/ 255219 w 1292225"/>
                  <a:gd name="connsiteY86" fmla="*/ 817704 h 892175"/>
                  <a:gd name="connsiteX87" fmla="*/ 263793 w 1292225"/>
                  <a:gd name="connsiteY87" fmla="*/ 823421 h 892175"/>
                  <a:gd name="connsiteX88" fmla="*/ 266651 w 1292225"/>
                  <a:gd name="connsiteY88" fmla="*/ 824850 h 892175"/>
                  <a:gd name="connsiteX89" fmla="*/ 275939 w 1292225"/>
                  <a:gd name="connsiteY89" fmla="*/ 830568 h 892175"/>
                  <a:gd name="connsiteX90" fmla="*/ 277368 w 1292225"/>
                  <a:gd name="connsiteY90" fmla="*/ 831282 h 892175"/>
                  <a:gd name="connsiteX91" fmla="*/ 285942 w 1292225"/>
                  <a:gd name="connsiteY91" fmla="*/ 835570 h 892175"/>
                  <a:gd name="connsiteX92" fmla="*/ 288799 w 1292225"/>
                  <a:gd name="connsiteY92" fmla="*/ 836999 h 892175"/>
                  <a:gd name="connsiteX93" fmla="*/ 298802 w 1292225"/>
                  <a:gd name="connsiteY93" fmla="*/ 841287 h 892175"/>
                  <a:gd name="connsiteX94" fmla="*/ 300945 w 1292225"/>
                  <a:gd name="connsiteY94" fmla="*/ 842002 h 892175"/>
                  <a:gd name="connsiteX95" fmla="*/ 309519 w 1292225"/>
                  <a:gd name="connsiteY95" fmla="*/ 845575 h 892175"/>
                  <a:gd name="connsiteX96" fmla="*/ 311662 w 1292225"/>
                  <a:gd name="connsiteY96" fmla="*/ 846290 h 892175"/>
                  <a:gd name="connsiteX97" fmla="*/ 322379 w 1292225"/>
                  <a:gd name="connsiteY97" fmla="*/ 849863 h 892175"/>
                  <a:gd name="connsiteX98" fmla="*/ 324523 w 1292225"/>
                  <a:gd name="connsiteY98" fmla="*/ 850578 h 892175"/>
                  <a:gd name="connsiteX99" fmla="*/ 335240 w 1292225"/>
                  <a:gd name="connsiteY99" fmla="*/ 854151 h 892175"/>
                  <a:gd name="connsiteX100" fmla="*/ 336669 w 1292225"/>
                  <a:gd name="connsiteY100" fmla="*/ 854151 h 892175"/>
                  <a:gd name="connsiteX101" fmla="*/ 347386 w 1292225"/>
                  <a:gd name="connsiteY101" fmla="*/ 857010 h 892175"/>
                  <a:gd name="connsiteX102" fmla="*/ 349529 w 1292225"/>
                  <a:gd name="connsiteY102" fmla="*/ 857010 h 892175"/>
                  <a:gd name="connsiteX103" fmla="*/ 360961 w 1292225"/>
                  <a:gd name="connsiteY103" fmla="*/ 859154 h 892175"/>
                  <a:gd name="connsiteX104" fmla="*/ 363104 w 1292225"/>
                  <a:gd name="connsiteY104" fmla="*/ 859154 h 892175"/>
                  <a:gd name="connsiteX105" fmla="*/ 373107 w 1292225"/>
                  <a:gd name="connsiteY105" fmla="*/ 860583 h 892175"/>
                  <a:gd name="connsiteX106" fmla="*/ 375250 w 1292225"/>
                  <a:gd name="connsiteY106" fmla="*/ 861298 h 892175"/>
                  <a:gd name="connsiteX107" fmla="*/ 386682 w 1292225"/>
                  <a:gd name="connsiteY107" fmla="*/ 862012 h 892175"/>
                  <a:gd name="connsiteX108" fmla="*/ 389539 w 1292225"/>
                  <a:gd name="connsiteY108" fmla="*/ 862012 h 892175"/>
                  <a:gd name="connsiteX109" fmla="*/ 401685 w 1292225"/>
                  <a:gd name="connsiteY109" fmla="*/ 862012 h 892175"/>
                  <a:gd name="connsiteX110" fmla="*/ 414546 w 1292225"/>
                  <a:gd name="connsiteY110" fmla="*/ 862012 h 892175"/>
                  <a:gd name="connsiteX111" fmla="*/ 415260 w 1292225"/>
                  <a:gd name="connsiteY111" fmla="*/ 862012 h 892175"/>
                  <a:gd name="connsiteX112" fmla="*/ 425977 w 1292225"/>
                  <a:gd name="connsiteY112" fmla="*/ 861298 h 892175"/>
                  <a:gd name="connsiteX113" fmla="*/ 428121 w 1292225"/>
                  <a:gd name="connsiteY113" fmla="*/ 860583 h 892175"/>
                  <a:gd name="connsiteX114" fmla="*/ 439552 w 1292225"/>
                  <a:gd name="connsiteY114" fmla="*/ 859154 h 892175"/>
                  <a:gd name="connsiteX115" fmla="*/ 441696 w 1292225"/>
                  <a:gd name="connsiteY115" fmla="*/ 859154 h 892175"/>
                  <a:gd name="connsiteX116" fmla="*/ 452413 w 1292225"/>
                  <a:gd name="connsiteY116" fmla="*/ 857010 h 892175"/>
                  <a:gd name="connsiteX117" fmla="*/ 455270 w 1292225"/>
                  <a:gd name="connsiteY117" fmla="*/ 857010 h 892175"/>
                  <a:gd name="connsiteX118" fmla="*/ 465987 w 1292225"/>
                  <a:gd name="connsiteY118" fmla="*/ 854151 h 892175"/>
                  <a:gd name="connsiteX119" fmla="*/ 468131 w 1292225"/>
                  <a:gd name="connsiteY119" fmla="*/ 853436 h 892175"/>
                  <a:gd name="connsiteX120" fmla="*/ 477419 w 1292225"/>
                  <a:gd name="connsiteY120" fmla="*/ 851292 h 892175"/>
                  <a:gd name="connsiteX121" fmla="*/ 479562 w 1292225"/>
                  <a:gd name="connsiteY121" fmla="*/ 849863 h 892175"/>
                  <a:gd name="connsiteX122" fmla="*/ 488850 w 1292225"/>
                  <a:gd name="connsiteY122" fmla="*/ 847005 h 892175"/>
                  <a:gd name="connsiteX123" fmla="*/ 489565 w 1292225"/>
                  <a:gd name="connsiteY123" fmla="*/ 847005 h 892175"/>
                  <a:gd name="connsiteX124" fmla="*/ 492423 w 1292225"/>
                  <a:gd name="connsiteY124" fmla="*/ 845575 h 892175"/>
                  <a:gd name="connsiteX125" fmla="*/ 500996 w 1292225"/>
                  <a:gd name="connsiteY125" fmla="*/ 842717 h 892175"/>
                  <a:gd name="connsiteX126" fmla="*/ 504569 w 1292225"/>
                  <a:gd name="connsiteY126" fmla="*/ 840573 h 892175"/>
                  <a:gd name="connsiteX127" fmla="*/ 512428 w 1292225"/>
                  <a:gd name="connsiteY127" fmla="*/ 836999 h 892175"/>
                  <a:gd name="connsiteX128" fmla="*/ 516715 w 1292225"/>
                  <a:gd name="connsiteY128" fmla="*/ 834856 h 892175"/>
                  <a:gd name="connsiteX129" fmla="*/ 523145 w 1292225"/>
                  <a:gd name="connsiteY129" fmla="*/ 831997 h 892175"/>
                  <a:gd name="connsiteX130" fmla="*/ 528861 w 1292225"/>
                  <a:gd name="connsiteY130" fmla="*/ 829138 h 892175"/>
                  <a:gd name="connsiteX131" fmla="*/ 533147 w 1292225"/>
                  <a:gd name="connsiteY131" fmla="*/ 826280 h 892175"/>
                  <a:gd name="connsiteX132" fmla="*/ 541006 w 1292225"/>
                  <a:gd name="connsiteY132" fmla="*/ 821992 h 892175"/>
                  <a:gd name="connsiteX133" fmla="*/ 543864 w 1292225"/>
                  <a:gd name="connsiteY133" fmla="*/ 819848 h 892175"/>
                  <a:gd name="connsiteX134" fmla="*/ 552438 w 1292225"/>
                  <a:gd name="connsiteY134" fmla="*/ 814131 h 892175"/>
                  <a:gd name="connsiteX135" fmla="*/ 554581 w 1292225"/>
                  <a:gd name="connsiteY135" fmla="*/ 812701 h 892175"/>
                  <a:gd name="connsiteX136" fmla="*/ 578159 w 1292225"/>
                  <a:gd name="connsiteY136" fmla="*/ 793406 h 892175"/>
                  <a:gd name="connsiteX137" fmla="*/ 583875 w 1292225"/>
                  <a:gd name="connsiteY137" fmla="*/ 796979 h 892175"/>
                  <a:gd name="connsiteX138" fmla="*/ 585303 w 1292225"/>
                  <a:gd name="connsiteY138" fmla="*/ 798409 h 892175"/>
                  <a:gd name="connsiteX139" fmla="*/ 586732 w 1292225"/>
                  <a:gd name="connsiteY139" fmla="*/ 799123 h 892175"/>
                  <a:gd name="connsiteX140" fmla="*/ 593877 w 1292225"/>
                  <a:gd name="connsiteY140" fmla="*/ 803411 h 892175"/>
                  <a:gd name="connsiteX141" fmla="*/ 602451 w 1292225"/>
                  <a:gd name="connsiteY141" fmla="*/ 808414 h 892175"/>
                  <a:gd name="connsiteX142" fmla="*/ 603165 w 1292225"/>
                  <a:gd name="connsiteY142" fmla="*/ 808414 h 892175"/>
                  <a:gd name="connsiteX143" fmla="*/ 611739 w 1292225"/>
                  <a:gd name="connsiteY143" fmla="*/ 812701 h 892175"/>
                  <a:gd name="connsiteX144" fmla="*/ 612453 w 1292225"/>
                  <a:gd name="connsiteY144" fmla="*/ 813416 h 892175"/>
                  <a:gd name="connsiteX145" fmla="*/ 621027 w 1292225"/>
                  <a:gd name="connsiteY145" fmla="*/ 816989 h 892175"/>
                  <a:gd name="connsiteX146" fmla="*/ 622456 w 1292225"/>
                  <a:gd name="connsiteY146" fmla="*/ 817704 h 892175"/>
                  <a:gd name="connsiteX147" fmla="*/ 630315 w 1292225"/>
                  <a:gd name="connsiteY147" fmla="*/ 820563 h 892175"/>
                  <a:gd name="connsiteX148" fmla="*/ 632458 w 1292225"/>
                  <a:gd name="connsiteY148" fmla="*/ 821277 h 892175"/>
                  <a:gd name="connsiteX149" fmla="*/ 640317 w 1292225"/>
                  <a:gd name="connsiteY149" fmla="*/ 824136 h 892175"/>
                  <a:gd name="connsiteX150" fmla="*/ 641746 w 1292225"/>
                  <a:gd name="connsiteY150" fmla="*/ 824136 h 892175"/>
                  <a:gd name="connsiteX151" fmla="*/ 642461 w 1292225"/>
                  <a:gd name="connsiteY151" fmla="*/ 824850 h 892175"/>
                  <a:gd name="connsiteX152" fmla="*/ 649606 w 1292225"/>
                  <a:gd name="connsiteY152" fmla="*/ 826280 h 892175"/>
                  <a:gd name="connsiteX153" fmla="*/ 652463 w 1292225"/>
                  <a:gd name="connsiteY153" fmla="*/ 826994 h 892175"/>
                  <a:gd name="connsiteX154" fmla="*/ 653892 w 1292225"/>
                  <a:gd name="connsiteY154" fmla="*/ 827709 h 892175"/>
                  <a:gd name="connsiteX155" fmla="*/ 659608 w 1292225"/>
                  <a:gd name="connsiteY155" fmla="*/ 829138 h 892175"/>
                  <a:gd name="connsiteX156" fmla="*/ 663180 w 1292225"/>
                  <a:gd name="connsiteY156" fmla="*/ 829138 h 892175"/>
                  <a:gd name="connsiteX157" fmla="*/ 665324 w 1292225"/>
                  <a:gd name="connsiteY157" fmla="*/ 829853 h 892175"/>
                  <a:gd name="connsiteX158" fmla="*/ 670325 w 1292225"/>
                  <a:gd name="connsiteY158" fmla="*/ 830568 h 892175"/>
                  <a:gd name="connsiteX159" fmla="*/ 673897 w 1292225"/>
                  <a:gd name="connsiteY159" fmla="*/ 831282 h 892175"/>
                  <a:gd name="connsiteX160" fmla="*/ 676755 w 1292225"/>
                  <a:gd name="connsiteY160" fmla="*/ 831282 h 892175"/>
                  <a:gd name="connsiteX161" fmla="*/ 681042 w 1292225"/>
                  <a:gd name="connsiteY161" fmla="*/ 831997 h 892175"/>
                  <a:gd name="connsiteX162" fmla="*/ 686043 w 1292225"/>
                  <a:gd name="connsiteY162" fmla="*/ 832712 h 892175"/>
                  <a:gd name="connsiteX163" fmla="*/ 688187 w 1292225"/>
                  <a:gd name="connsiteY163" fmla="*/ 832712 h 892175"/>
                  <a:gd name="connsiteX164" fmla="*/ 691759 w 1292225"/>
                  <a:gd name="connsiteY164" fmla="*/ 832712 h 892175"/>
                  <a:gd name="connsiteX165" fmla="*/ 702476 w 1292225"/>
                  <a:gd name="connsiteY165" fmla="*/ 833426 h 892175"/>
                  <a:gd name="connsiteX166" fmla="*/ 712479 w 1292225"/>
                  <a:gd name="connsiteY166" fmla="*/ 832712 h 892175"/>
                  <a:gd name="connsiteX167" fmla="*/ 716051 w 1292225"/>
                  <a:gd name="connsiteY167" fmla="*/ 832712 h 892175"/>
                  <a:gd name="connsiteX168" fmla="*/ 717480 w 1292225"/>
                  <a:gd name="connsiteY168" fmla="*/ 832712 h 892175"/>
                  <a:gd name="connsiteX169" fmla="*/ 723196 w 1292225"/>
                  <a:gd name="connsiteY169" fmla="*/ 831997 h 892175"/>
                  <a:gd name="connsiteX170" fmla="*/ 726768 w 1292225"/>
                  <a:gd name="connsiteY170" fmla="*/ 831282 h 892175"/>
                  <a:gd name="connsiteX171" fmla="*/ 728911 w 1292225"/>
                  <a:gd name="connsiteY171" fmla="*/ 831282 h 892175"/>
                  <a:gd name="connsiteX172" fmla="*/ 733913 w 1292225"/>
                  <a:gd name="connsiteY172" fmla="*/ 830568 h 892175"/>
                  <a:gd name="connsiteX173" fmla="*/ 737485 w 1292225"/>
                  <a:gd name="connsiteY173" fmla="*/ 829853 h 892175"/>
                  <a:gd name="connsiteX174" fmla="*/ 739628 w 1292225"/>
                  <a:gd name="connsiteY174" fmla="*/ 829853 h 892175"/>
                  <a:gd name="connsiteX175" fmla="*/ 743915 w 1292225"/>
                  <a:gd name="connsiteY175" fmla="*/ 829138 h 892175"/>
                  <a:gd name="connsiteX176" fmla="*/ 748202 w 1292225"/>
                  <a:gd name="connsiteY176" fmla="*/ 827709 h 892175"/>
                  <a:gd name="connsiteX177" fmla="*/ 750345 w 1292225"/>
                  <a:gd name="connsiteY177" fmla="*/ 827709 h 892175"/>
                  <a:gd name="connsiteX178" fmla="*/ 753918 w 1292225"/>
                  <a:gd name="connsiteY178" fmla="*/ 826994 h 892175"/>
                  <a:gd name="connsiteX179" fmla="*/ 758919 w 1292225"/>
                  <a:gd name="connsiteY179" fmla="*/ 825565 h 892175"/>
                  <a:gd name="connsiteX180" fmla="*/ 760348 w 1292225"/>
                  <a:gd name="connsiteY180" fmla="*/ 824850 h 892175"/>
                  <a:gd name="connsiteX181" fmla="*/ 763920 w 1292225"/>
                  <a:gd name="connsiteY181" fmla="*/ 824136 h 892175"/>
                  <a:gd name="connsiteX182" fmla="*/ 769636 w 1292225"/>
                  <a:gd name="connsiteY182" fmla="*/ 821992 h 892175"/>
                  <a:gd name="connsiteX183" fmla="*/ 773208 w 1292225"/>
                  <a:gd name="connsiteY183" fmla="*/ 820563 h 892175"/>
                  <a:gd name="connsiteX184" fmla="*/ 778924 w 1292225"/>
                  <a:gd name="connsiteY184" fmla="*/ 818419 h 892175"/>
                  <a:gd name="connsiteX185" fmla="*/ 779639 w 1292225"/>
                  <a:gd name="connsiteY185" fmla="*/ 818419 h 892175"/>
                  <a:gd name="connsiteX186" fmla="*/ 782496 w 1292225"/>
                  <a:gd name="connsiteY186" fmla="*/ 816989 h 892175"/>
                  <a:gd name="connsiteX187" fmla="*/ 788927 w 1292225"/>
                  <a:gd name="connsiteY187" fmla="*/ 814845 h 892175"/>
                  <a:gd name="connsiteX188" fmla="*/ 791785 w 1292225"/>
                  <a:gd name="connsiteY188" fmla="*/ 813416 h 892175"/>
                  <a:gd name="connsiteX189" fmla="*/ 798215 w 1292225"/>
                  <a:gd name="connsiteY189" fmla="*/ 810558 h 892175"/>
                  <a:gd name="connsiteX190" fmla="*/ 800358 w 1292225"/>
                  <a:gd name="connsiteY190" fmla="*/ 809128 h 892175"/>
                  <a:gd name="connsiteX191" fmla="*/ 806788 w 1292225"/>
                  <a:gd name="connsiteY191" fmla="*/ 805555 h 892175"/>
                  <a:gd name="connsiteX192" fmla="*/ 808932 w 1292225"/>
                  <a:gd name="connsiteY192" fmla="*/ 804126 h 892175"/>
                  <a:gd name="connsiteX193" fmla="*/ 815362 w 1292225"/>
                  <a:gd name="connsiteY193" fmla="*/ 800552 h 892175"/>
                  <a:gd name="connsiteX194" fmla="*/ 817505 w 1292225"/>
                  <a:gd name="connsiteY194" fmla="*/ 799123 h 892175"/>
                  <a:gd name="connsiteX195" fmla="*/ 823936 w 1292225"/>
                  <a:gd name="connsiteY195" fmla="*/ 794835 h 892175"/>
                  <a:gd name="connsiteX196" fmla="*/ 825365 w 1292225"/>
                  <a:gd name="connsiteY196" fmla="*/ 794121 h 892175"/>
                  <a:gd name="connsiteX197" fmla="*/ 828937 w 1292225"/>
                  <a:gd name="connsiteY197" fmla="*/ 791262 h 892175"/>
                  <a:gd name="connsiteX198" fmla="*/ 833224 w 1292225"/>
                  <a:gd name="connsiteY198" fmla="*/ 793406 h 892175"/>
                  <a:gd name="connsiteX199" fmla="*/ 838939 w 1292225"/>
                  <a:gd name="connsiteY199" fmla="*/ 795550 h 892175"/>
                  <a:gd name="connsiteX200" fmla="*/ 841797 w 1292225"/>
                  <a:gd name="connsiteY200" fmla="*/ 796979 h 892175"/>
                  <a:gd name="connsiteX201" fmla="*/ 842512 w 1292225"/>
                  <a:gd name="connsiteY201" fmla="*/ 797694 h 892175"/>
                  <a:gd name="connsiteX202" fmla="*/ 846799 w 1292225"/>
                  <a:gd name="connsiteY202" fmla="*/ 799123 h 892175"/>
                  <a:gd name="connsiteX203" fmla="*/ 850371 w 1292225"/>
                  <a:gd name="connsiteY203" fmla="*/ 800552 h 892175"/>
                  <a:gd name="connsiteX204" fmla="*/ 855372 w 1292225"/>
                  <a:gd name="connsiteY204" fmla="*/ 801982 h 892175"/>
                  <a:gd name="connsiteX205" fmla="*/ 856087 w 1292225"/>
                  <a:gd name="connsiteY205" fmla="*/ 801982 h 892175"/>
                  <a:gd name="connsiteX206" fmla="*/ 858230 w 1292225"/>
                  <a:gd name="connsiteY206" fmla="*/ 802696 h 892175"/>
                  <a:gd name="connsiteX207" fmla="*/ 865375 w 1292225"/>
                  <a:gd name="connsiteY207" fmla="*/ 804840 h 892175"/>
                  <a:gd name="connsiteX208" fmla="*/ 868233 w 1292225"/>
                  <a:gd name="connsiteY208" fmla="*/ 805555 h 892175"/>
                  <a:gd name="connsiteX209" fmla="*/ 868233 w 1292225"/>
                  <a:gd name="connsiteY209" fmla="*/ 806270 h 892175"/>
                  <a:gd name="connsiteX210" fmla="*/ 873948 w 1292225"/>
                  <a:gd name="connsiteY210" fmla="*/ 806984 h 892175"/>
                  <a:gd name="connsiteX211" fmla="*/ 876806 w 1292225"/>
                  <a:gd name="connsiteY211" fmla="*/ 807699 h 892175"/>
                  <a:gd name="connsiteX212" fmla="*/ 883951 w 1292225"/>
                  <a:gd name="connsiteY212" fmla="*/ 809128 h 892175"/>
                  <a:gd name="connsiteX213" fmla="*/ 885380 w 1292225"/>
                  <a:gd name="connsiteY213" fmla="*/ 809128 h 892175"/>
                  <a:gd name="connsiteX214" fmla="*/ 893953 w 1292225"/>
                  <a:gd name="connsiteY214" fmla="*/ 810558 h 892175"/>
                  <a:gd name="connsiteX215" fmla="*/ 896811 w 1292225"/>
                  <a:gd name="connsiteY215" fmla="*/ 810558 h 892175"/>
                  <a:gd name="connsiteX216" fmla="*/ 903241 w 1292225"/>
                  <a:gd name="connsiteY216" fmla="*/ 811272 h 892175"/>
                  <a:gd name="connsiteX217" fmla="*/ 906099 w 1292225"/>
                  <a:gd name="connsiteY217" fmla="*/ 811272 h 892175"/>
                  <a:gd name="connsiteX218" fmla="*/ 913958 w 1292225"/>
                  <a:gd name="connsiteY218" fmla="*/ 811272 h 892175"/>
                  <a:gd name="connsiteX219" fmla="*/ 915387 w 1292225"/>
                  <a:gd name="connsiteY219" fmla="*/ 811272 h 892175"/>
                  <a:gd name="connsiteX220" fmla="*/ 923961 w 1292225"/>
                  <a:gd name="connsiteY220" fmla="*/ 811272 h 892175"/>
                  <a:gd name="connsiteX221" fmla="*/ 926819 w 1292225"/>
                  <a:gd name="connsiteY221" fmla="*/ 811272 h 892175"/>
                  <a:gd name="connsiteX222" fmla="*/ 928248 w 1292225"/>
                  <a:gd name="connsiteY222" fmla="*/ 811272 h 892175"/>
                  <a:gd name="connsiteX223" fmla="*/ 933964 w 1292225"/>
                  <a:gd name="connsiteY223" fmla="*/ 810558 h 892175"/>
                  <a:gd name="connsiteX224" fmla="*/ 936821 w 1292225"/>
                  <a:gd name="connsiteY224" fmla="*/ 810558 h 892175"/>
                  <a:gd name="connsiteX225" fmla="*/ 938250 w 1292225"/>
                  <a:gd name="connsiteY225" fmla="*/ 809843 h 892175"/>
                  <a:gd name="connsiteX226" fmla="*/ 943252 w 1292225"/>
                  <a:gd name="connsiteY226" fmla="*/ 809128 h 892175"/>
                  <a:gd name="connsiteX227" fmla="*/ 946824 w 1292225"/>
                  <a:gd name="connsiteY227" fmla="*/ 809128 h 892175"/>
                  <a:gd name="connsiteX228" fmla="*/ 948253 w 1292225"/>
                  <a:gd name="connsiteY228" fmla="*/ 808414 h 892175"/>
                  <a:gd name="connsiteX229" fmla="*/ 952540 w 1292225"/>
                  <a:gd name="connsiteY229" fmla="*/ 807699 h 892175"/>
                  <a:gd name="connsiteX230" fmla="*/ 956112 w 1292225"/>
                  <a:gd name="connsiteY230" fmla="*/ 806984 h 892175"/>
                  <a:gd name="connsiteX231" fmla="*/ 956827 w 1292225"/>
                  <a:gd name="connsiteY231" fmla="*/ 806984 h 892175"/>
                  <a:gd name="connsiteX232" fmla="*/ 961828 w 1292225"/>
                  <a:gd name="connsiteY232" fmla="*/ 805555 h 892175"/>
                  <a:gd name="connsiteX233" fmla="*/ 965400 w 1292225"/>
                  <a:gd name="connsiteY233" fmla="*/ 804840 h 892175"/>
                  <a:gd name="connsiteX234" fmla="*/ 970401 w 1292225"/>
                  <a:gd name="connsiteY234" fmla="*/ 803411 h 892175"/>
                  <a:gd name="connsiteX235" fmla="*/ 974688 w 1292225"/>
                  <a:gd name="connsiteY235" fmla="*/ 801982 h 892175"/>
                  <a:gd name="connsiteX236" fmla="*/ 979689 w 1292225"/>
                  <a:gd name="connsiteY236" fmla="*/ 800552 h 892175"/>
                  <a:gd name="connsiteX237" fmla="*/ 983262 w 1292225"/>
                  <a:gd name="connsiteY237" fmla="*/ 799123 h 892175"/>
                  <a:gd name="connsiteX238" fmla="*/ 988263 w 1292225"/>
                  <a:gd name="connsiteY238" fmla="*/ 796979 h 892175"/>
                  <a:gd name="connsiteX239" fmla="*/ 991835 w 1292225"/>
                  <a:gd name="connsiteY239" fmla="*/ 795550 h 892175"/>
                  <a:gd name="connsiteX240" fmla="*/ 996837 w 1292225"/>
                  <a:gd name="connsiteY240" fmla="*/ 793406 h 892175"/>
                  <a:gd name="connsiteX241" fmla="*/ 1000409 w 1292225"/>
                  <a:gd name="connsiteY241" fmla="*/ 791977 h 892175"/>
                  <a:gd name="connsiteX242" fmla="*/ 1004696 w 1292225"/>
                  <a:gd name="connsiteY242" fmla="*/ 789118 h 892175"/>
                  <a:gd name="connsiteX243" fmla="*/ 1008268 w 1292225"/>
                  <a:gd name="connsiteY243" fmla="*/ 787689 h 892175"/>
                  <a:gd name="connsiteX244" fmla="*/ 1012555 w 1292225"/>
                  <a:gd name="connsiteY244" fmla="*/ 784830 h 892175"/>
                  <a:gd name="connsiteX245" fmla="*/ 1013269 w 1292225"/>
                  <a:gd name="connsiteY245" fmla="*/ 784830 h 892175"/>
                  <a:gd name="connsiteX246" fmla="*/ 1016127 w 1292225"/>
                  <a:gd name="connsiteY246" fmla="*/ 782686 h 892175"/>
                  <a:gd name="connsiteX247" fmla="*/ 1020414 w 1292225"/>
                  <a:gd name="connsiteY247" fmla="*/ 780542 h 892175"/>
                  <a:gd name="connsiteX248" fmla="*/ 1021129 w 1292225"/>
                  <a:gd name="connsiteY248" fmla="*/ 779828 h 892175"/>
                  <a:gd name="connsiteX249" fmla="*/ 1023986 w 1292225"/>
                  <a:gd name="connsiteY249" fmla="*/ 777684 h 892175"/>
                  <a:gd name="connsiteX250" fmla="*/ 1027559 w 1292225"/>
                  <a:gd name="connsiteY250" fmla="*/ 775540 h 892175"/>
                  <a:gd name="connsiteX251" fmla="*/ 1028988 w 1292225"/>
                  <a:gd name="connsiteY251" fmla="*/ 774110 h 892175"/>
                  <a:gd name="connsiteX252" fmla="*/ 1031131 w 1292225"/>
                  <a:gd name="connsiteY252" fmla="*/ 772681 h 892175"/>
                  <a:gd name="connsiteX253" fmla="*/ 1035418 w 1292225"/>
                  <a:gd name="connsiteY253" fmla="*/ 769108 h 892175"/>
                  <a:gd name="connsiteX254" fmla="*/ 1056138 w 1292225"/>
                  <a:gd name="connsiteY254" fmla="*/ 769108 h 892175"/>
                  <a:gd name="connsiteX255" fmla="*/ 1254045 w 1292225"/>
                  <a:gd name="connsiteY255" fmla="*/ 617603 h 892175"/>
                  <a:gd name="connsiteX256" fmla="*/ 1256188 w 1292225"/>
                  <a:gd name="connsiteY256" fmla="*/ 607598 h 892175"/>
                  <a:gd name="connsiteX257" fmla="*/ 1260475 w 1292225"/>
                  <a:gd name="connsiteY257" fmla="*/ 576868 h 892175"/>
                  <a:gd name="connsiteX258" fmla="*/ 1260475 w 1292225"/>
                  <a:gd name="connsiteY258" fmla="*/ 566863 h 892175"/>
                  <a:gd name="connsiteX259" fmla="*/ 1255474 w 1292225"/>
                  <a:gd name="connsiteY259" fmla="*/ 521840 h 892175"/>
                  <a:gd name="connsiteX260" fmla="*/ 1234754 w 1292225"/>
                  <a:gd name="connsiteY260" fmla="*/ 468241 h 892175"/>
                  <a:gd name="connsiteX261" fmla="*/ 1216893 w 1292225"/>
                  <a:gd name="connsiteY261" fmla="*/ 441799 h 892175"/>
                  <a:gd name="connsiteX262" fmla="*/ 1198317 w 1292225"/>
                  <a:gd name="connsiteY262" fmla="*/ 421074 h 892175"/>
                  <a:gd name="connsiteX263" fmla="*/ 1190457 w 1292225"/>
                  <a:gd name="connsiteY263" fmla="*/ 413928 h 892175"/>
                  <a:gd name="connsiteX264" fmla="*/ 1177597 w 1292225"/>
                  <a:gd name="connsiteY264" fmla="*/ 403208 h 892175"/>
                  <a:gd name="connsiteX265" fmla="*/ 1161879 w 1292225"/>
                  <a:gd name="connsiteY265" fmla="*/ 393203 h 892175"/>
                  <a:gd name="connsiteX266" fmla="*/ 1159021 w 1292225"/>
                  <a:gd name="connsiteY266" fmla="*/ 391774 h 892175"/>
                  <a:gd name="connsiteX267" fmla="*/ 1145446 w 1292225"/>
                  <a:gd name="connsiteY267" fmla="*/ 384627 h 892175"/>
                  <a:gd name="connsiteX268" fmla="*/ 1144017 w 1292225"/>
                  <a:gd name="connsiteY268" fmla="*/ 383913 h 892175"/>
                  <a:gd name="connsiteX269" fmla="*/ 1109723 w 1292225"/>
                  <a:gd name="connsiteY269" fmla="*/ 371049 h 892175"/>
                  <a:gd name="connsiteX270" fmla="*/ 974688 w 1292225"/>
                  <a:gd name="connsiteY270" fmla="*/ 281718 h 892175"/>
                  <a:gd name="connsiteX271" fmla="*/ 916102 w 1292225"/>
                  <a:gd name="connsiteY271" fmla="*/ 166660 h 892175"/>
                  <a:gd name="connsiteX272" fmla="*/ 771779 w 1292225"/>
                  <a:gd name="connsiteY272" fmla="*/ 107344 h 892175"/>
                  <a:gd name="connsiteX273" fmla="*/ 687472 w 1292225"/>
                  <a:gd name="connsiteY273" fmla="*/ 125925 h 892175"/>
                  <a:gd name="connsiteX274" fmla="*/ 479562 w 1292225"/>
                  <a:gd name="connsiteY274" fmla="*/ 30162 h 892175"/>
                  <a:gd name="connsiteX275" fmla="*/ 480479 w 1292225"/>
                  <a:gd name="connsiteY275" fmla="*/ 0 h 892175"/>
                  <a:gd name="connsiteX276" fmla="*/ 696088 w 1292225"/>
                  <a:gd name="connsiteY276" fmla="*/ 89788 h 892175"/>
                  <a:gd name="connsiteX277" fmla="*/ 772479 w 1292225"/>
                  <a:gd name="connsiteY277" fmla="*/ 76961 h 892175"/>
                  <a:gd name="connsiteX278" fmla="*/ 938113 w 1292225"/>
                  <a:gd name="connsiteY278" fmla="*/ 145371 h 892175"/>
                  <a:gd name="connsiteX279" fmla="*/ 1001653 w 1292225"/>
                  <a:gd name="connsiteY279" fmla="*/ 255111 h 892175"/>
                  <a:gd name="connsiteX280" fmla="*/ 1130876 w 1292225"/>
                  <a:gd name="connsiteY280" fmla="*/ 344898 h 892175"/>
                  <a:gd name="connsiteX281" fmla="*/ 1157291 w 1292225"/>
                  <a:gd name="connsiteY281" fmla="*/ 355587 h 892175"/>
                  <a:gd name="connsiteX282" fmla="*/ 1159433 w 1292225"/>
                  <a:gd name="connsiteY282" fmla="*/ 356300 h 892175"/>
                  <a:gd name="connsiteX283" fmla="*/ 1175140 w 1292225"/>
                  <a:gd name="connsiteY283" fmla="*/ 364851 h 892175"/>
                  <a:gd name="connsiteX284" fmla="*/ 1177995 w 1292225"/>
                  <a:gd name="connsiteY284" fmla="*/ 366276 h 892175"/>
                  <a:gd name="connsiteX285" fmla="*/ 1196558 w 1292225"/>
                  <a:gd name="connsiteY285" fmla="*/ 378391 h 892175"/>
                  <a:gd name="connsiteX286" fmla="*/ 1211550 w 1292225"/>
                  <a:gd name="connsiteY286" fmla="*/ 390505 h 892175"/>
                  <a:gd name="connsiteX287" fmla="*/ 1220118 w 1292225"/>
                  <a:gd name="connsiteY287" fmla="*/ 398343 h 892175"/>
                  <a:gd name="connsiteX288" fmla="*/ 1242250 w 1292225"/>
                  <a:gd name="connsiteY288" fmla="*/ 422572 h 892175"/>
                  <a:gd name="connsiteX289" fmla="*/ 1262954 w 1292225"/>
                  <a:gd name="connsiteY289" fmla="*/ 453214 h 892175"/>
                  <a:gd name="connsiteX290" fmla="*/ 1286514 w 1292225"/>
                  <a:gd name="connsiteY290" fmla="*/ 514497 h 892175"/>
                  <a:gd name="connsiteX291" fmla="*/ 1292225 w 1292225"/>
                  <a:gd name="connsiteY291" fmla="*/ 566517 h 892175"/>
                  <a:gd name="connsiteX292" fmla="*/ 1292225 w 1292225"/>
                  <a:gd name="connsiteY292" fmla="*/ 578631 h 892175"/>
                  <a:gd name="connsiteX293" fmla="*/ 1287228 w 1292225"/>
                  <a:gd name="connsiteY293" fmla="*/ 613549 h 892175"/>
                  <a:gd name="connsiteX294" fmla="*/ 1285086 w 1292225"/>
                  <a:gd name="connsiteY294" fmla="*/ 624950 h 892175"/>
                  <a:gd name="connsiteX295" fmla="*/ 1056626 w 1292225"/>
                  <a:gd name="connsiteY295" fmla="*/ 799537 h 892175"/>
                  <a:gd name="connsiteX296" fmla="*/ 1046631 w 1292225"/>
                  <a:gd name="connsiteY296" fmla="*/ 799537 h 892175"/>
                  <a:gd name="connsiteX297" fmla="*/ 1042347 w 1292225"/>
                  <a:gd name="connsiteY297" fmla="*/ 803100 h 892175"/>
                  <a:gd name="connsiteX298" fmla="*/ 1038778 w 1292225"/>
                  <a:gd name="connsiteY298" fmla="*/ 805238 h 892175"/>
                  <a:gd name="connsiteX299" fmla="*/ 1038064 w 1292225"/>
                  <a:gd name="connsiteY299" fmla="*/ 805951 h 892175"/>
                  <a:gd name="connsiteX300" fmla="*/ 1033066 w 1292225"/>
                  <a:gd name="connsiteY300" fmla="*/ 808801 h 892175"/>
                  <a:gd name="connsiteX301" fmla="*/ 1029497 w 1292225"/>
                  <a:gd name="connsiteY301" fmla="*/ 810939 h 892175"/>
                  <a:gd name="connsiteX302" fmla="*/ 1028783 w 1292225"/>
                  <a:gd name="connsiteY302" fmla="*/ 810939 h 892175"/>
                  <a:gd name="connsiteX303" fmla="*/ 1024499 w 1292225"/>
                  <a:gd name="connsiteY303" fmla="*/ 813789 h 892175"/>
                  <a:gd name="connsiteX304" fmla="*/ 1020215 w 1292225"/>
                  <a:gd name="connsiteY304" fmla="*/ 815927 h 892175"/>
                  <a:gd name="connsiteX305" fmla="*/ 1019501 w 1292225"/>
                  <a:gd name="connsiteY305" fmla="*/ 815927 h 892175"/>
                  <a:gd name="connsiteX306" fmla="*/ 1014504 w 1292225"/>
                  <a:gd name="connsiteY306" fmla="*/ 818777 h 892175"/>
                  <a:gd name="connsiteX307" fmla="*/ 1010220 w 1292225"/>
                  <a:gd name="connsiteY307" fmla="*/ 820915 h 892175"/>
                  <a:gd name="connsiteX308" fmla="*/ 1005223 w 1292225"/>
                  <a:gd name="connsiteY308" fmla="*/ 823053 h 892175"/>
                  <a:gd name="connsiteX309" fmla="*/ 1000225 w 1292225"/>
                  <a:gd name="connsiteY309" fmla="*/ 825191 h 892175"/>
                  <a:gd name="connsiteX310" fmla="*/ 995228 w 1292225"/>
                  <a:gd name="connsiteY310" fmla="*/ 827329 h 892175"/>
                  <a:gd name="connsiteX311" fmla="*/ 990230 w 1292225"/>
                  <a:gd name="connsiteY311" fmla="*/ 828754 h 892175"/>
                  <a:gd name="connsiteX312" fmla="*/ 985233 w 1292225"/>
                  <a:gd name="connsiteY312" fmla="*/ 830892 h 892175"/>
                  <a:gd name="connsiteX313" fmla="*/ 980235 w 1292225"/>
                  <a:gd name="connsiteY313" fmla="*/ 832317 h 892175"/>
                  <a:gd name="connsiteX314" fmla="*/ 974523 w 1292225"/>
                  <a:gd name="connsiteY314" fmla="*/ 833742 h 892175"/>
                  <a:gd name="connsiteX315" fmla="*/ 970240 w 1292225"/>
                  <a:gd name="connsiteY315" fmla="*/ 835167 h 892175"/>
                  <a:gd name="connsiteX316" fmla="*/ 963814 w 1292225"/>
                  <a:gd name="connsiteY316" fmla="*/ 836592 h 892175"/>
                  <a:gd name="connsiteX317" fmla="*/ 963101 w 1292225"/>
                  <a:gd name="connsiteY317" fmla="*/ 836592 h 892175"/>
                  <a:gd name="connsiteX318" fmla="*/ 959531 w 1292225"/>
                  <a:gd name="connsiteY318" fmla="*/ 837305 h 892175"/>
                  <a:gd name="connsiteX319" fmla="*/ 953819 w 1292225"/>
                  <a:gd name="connsiteY319" fmla="*/ 838730 h 892175"/>
                  <a:gd name="connsiteX320" fmla="*/ 952391 w 1292225"/>
                  <a:gd name="connsiteY320" fmla="*/ 838730 h 892175"/>
                  <a:gd name="connsiteX321" fmla="*/ 948108 w 1292225"/>
                  <a:gd name="connsiteY321" fmla="*/ 839443 h 892175"/>
                  <a:gd name="connsiteX322" fmla="*/ 942396 w 1292225"/>
                  <a:gd name="connsiteY322" fmla="*/ 840155 h 892175"/>
                  <a:gd name="connsiteX323" fmla="*/ 941682 w 1292225"/>
                  <a:gd name="connsiteY323" fmla="*/ 840155 h 892175"/>
                  <a:gd name="connsiteX324" fmla="*/ 937399 w 1292225"/>
                  <a:gd name="connsiteY324" fmla="*/ 840868 h 892175"/>
                  <a:gd name="connsiteX325" fmla="*/ 930973 w 1292225"/>
                  <a:gd name="connsiteY325" fmla="*/ 841581 h 892175"/>
                  <a:gd name="connsiteX326" fmla="*/ 930259 w 1292225"/>
                  <a:gd name="connsiteY326" fmla="*/ 841581 h 892175"/>
                  <a:gd name="connsiteX327" fmla="*/ 926690 w 1292225"/>
                  <a:gd name="connsiteY327" fmla="*/ 841581 h 892175"/>
                  <a:gd name="connsiteX328" fmla="*/ 915981 w 1292225"/>
                  <a:gd name="connsiteY328" fmla="*/ 841581 h 892175"/>
                  <a:gd name="connsiteX329" fmla="*/ 914553 w 1292225"/>
                  <a:gd name="connsiteY329" fmla="*/ 841581 h 892175"/>
                  <a:gd name="connsiteX330" fmla="*/ 905272 w 1292225"/>
                  <a:gd name="connsiteY330" fmla="*/ 841581 h 892175"/>
                  <a:gd name="connsiteX331" fmla="*/ 901702 w 1292225"/>
                  <a:gd name="connsiteY331" fmla="*/ 841581 h 892175"/>
                  <a:gd name="connsiteX332" fmla="*/ 894563 w 1292225"/>
                  <a:gd name="connsiteY332" fmla="*/ 840868 h 892175"/>
                  <a:gd name="connsiteX333" fmla="*/ 890993 w 1292225"/>
                  <a:gd name="connsiteY333" fmla="*/ 840868 h 892175"/>
                  <a:gd name="connsiteX334" fmla="*/ 880998 w 1292225"/>
                  <a:gd name="connsiteY334" fmla="*/ 839443 h 892175"/>
                  <a:gd name="connsiteX335" fmla="*/ 879570 w 1292225"/>
                  <a:gd name="connsiteY335" fmla="*/ 838730 h 892175"/>
                  <a:gd name="connsiteX336" fmla="*/ 871717 w 1292225"/>
                  <a:gd name="connsiteY336" fmla="*/ 837305 h 892175"/>
                  <a:gd name="connsiteX337" fmla="*/ 868861 w 1292225"/>
                  <a:gd name="connsiteY337" fmla="*/ 837305 h 892175"/>
                  <a:gd name="connsiteX338" fmla="*/ 868147 w 1292225"/>
                  <a:gd name="connsiteY338" fmla="*/ 836592 h 892175"/>
                  <a:gd name="connsiteX339" fmla="*/ 862435 w 1292225"/>
                  <a:gd name="connsiteY339" fmla="*/ 835167 h 892175"/>
                  <a:gd name="connsiteX340" fmla="*/ 861722 w 1292225"/>
                  <a:gd name="connsiteY340" fmla="*/ 835167 h 892175"/>
                  <a:gd name="connsiteX341" fmla="*/ 858866 w 1292225"/>
                  <a:gd name="connsiteY341" fmla="*/ 834455 h 892175"/>
                  <a:gd name="connsiteX342" fmla="*/ 849585 w 1292225"/>
                  <a:gd name="connsiteY342" fmla="*/ 832317 h 892175"/>
                  <a:gd name="connsiteX343" fmla="*/ 846729 w 1292225"/>
                  <a:gd name="connsiteY343" fmla="*/ 830892 h 892175"/>
                  <a:gd name="connsiteX344" fmla="*/ 846015 w 1292225"/>
                  <a:gd name="connsiteY344" fmla="*/ 830892 h 892175"/>
                  <a:gd name="connsiteX345" fmla="*/ 840303 w 1292225"/>
                  <a:gd name="connsiteY345" fmla="*/ 828754 h 892175"/>
                  <a:gd name="connsiteX346" fmla="*/ 836020 w 1292225"/>
                  <a:gd name="connsiteY346" fmla="*/ 827329 h 892175"/>
                  <a:gd name="connsiteX347" fmla="*/ 832450 w 1292225"/>
                  <a:gd name="connsiteY347" fmla="*/ 825903 h 892175"/>
                  <a:gd name="connsiteX348" fmla="*/ 825311 w 1292225"/>
                  <a:gd name="connsiteY348" fmla="*/ 830179 h 892175"/>
                  <a:gd name="connsiteX349" fmla="*/ 823169 w 1292225"/>
                  <a:gd name="connsiteY349" fmla="*/ 831604 h 892175"/>
                  <a:gd name="connsiteX350" fmla="*/ 815316 w 1292225"/>
                  <a:gd name="connsiteY350" fmla="*/ 835880 h 892175"/>
                  <a:gd name="connsiteX351" fmla="*/ 813174 w 1292225"/>
                  <a:gd name="connsiteY351" fmla="*/ 837305 h 892175"/>
                  <a:gd name="connsiteX352" fmla="*/ 805321 w 1292225"/>
                  <a:gd name="connsiteY352" fmla="*/ 840868 h 892175"/>
                  <a:gd name="connsiteX353" fmla="*/ 802465 w 1292225"/>
                  <a:gd name="connsiteY353" fmla="*/ 842293 h 892175"/>
                  <a:gd name="connsiteX354" fmla="*/ 795325 w 1292225"/>
                  <a:gd name="connsiteY354" fmla="*/ 845144 h 892175"/>
                  <a:gd name="connsiteX355" fmla="*/ 791756 w 1292225"/>
                  <a:gd name="connsiteY355" fmla="*/ 846569 h 892175"/>
                  <a:gd name="connsiteX356" fmla="*/ 791042 w 1292225"/>
                  <a:gd name="connsiteY356" fmla="*/ 846569 h 892175"/>
                  <a:gd name="connsiteX357" fmla="*/ 784616 w 1292225"/>
                  <a:gd name="connsiteY357" fmla="*/ 849419 h 892175"/>
                  <a:gd name="connsiteX358" fmla="*/ 780333 w 1292225"/>
                  <a:gd name="connsiteY358" fmla="*/ 850844 h 892175"/>
                  <a:gd name="connsiteX359" fmla="*/ 773193 w 1292225"/>
                  <a:gd name="connsiteY359" fmla="*/ 852982 h 892175"/>
                  <a:gd name="connsiteX360" fmla="*/ 769624 w 1292225"/>
                  <a:gd name="connsiteY360" fmla="*/ 854407 h 892175"/>
                  <a:gd name="connsiteX361" fmla="*/ 768196 w 1292225"/>
                  <a:gd name="connsiteY361" fmla="*/ 854407 h 892175"/>
                  <a:gd name="connsiteX362" fmla="*/ 762484 w 1292225"/>
                  <a:gd name="connsiteY362" fmla="*/ 855833 h 892175"/>
                  <a:gd name="connsiteX363" fmla="*/ 758201 w 1292225"/>
                  <a:gd name="connsiteY363" fmla="*/ 857258 h 892175"/>
                  <a:gd name="connsiteX364" fmla="*/ 756059 w 1292225"/>
                  <a:gd name="connsiteY364" fmla="*/ 857258 h 892175"/>
                  <a:gd name="connsiteX365" fmla="*/ 751061 w 1292225"/>
                  <a:gd name="connsiteY365" fmla="*/ 858683 h 892175"/>
                  <a:gd name="connsiteX366" fmla="*/ 746064 w 1292225"/>
                  <a:gd name="connsiteY366" fmla="*/ 859396 h 892175"/>
                  <a:gd name="connsiteX367" fmla="*/ 743922 w 1292225"/>
                  <a:gd name="connsiteY367" fmla="*/ 860108 h 892175"/>
                  <a:gd name="connsiteX368" fmla="*/ 738924 w 1292225"/>
                  <a:gd name="connsiteY368" fmla="*/ 860821 h 892175"/>
                  <a:gd name="connsiteX369" fmla="*/ 733927 w 1292225"/>
                  <a:gd name="connsiteY369" fmla="*/ 861533 h 892175"/>
                  <a:gd name="connsiteX370" fmla="*/ 731785 w 1292225"/>
                  <a:gd name="connsiteY370" fmla="*/ 861533 h 892175"/>
                  <a:gd name="connsiteX371" fmla="*/ 727501 w 1292225"/>
                  <a:gd name="connsiteY371" fmla="*/ 862246 h 892175"/>
                  <a:gd name="connsiteX372" fmla="*/ 720362 w 1292225"/>
                  <a:gd name="connsiteY372" fmla="*/ 862959 h 892175"/>
                  <a:gd name="connsiteX373" fmla="*/ 718934 w 1292225"/>
                  <a:gd name="connsiteY373" fmla="*/ 862959 h 892175"/>
                  <a:gd name="connsiteX374" fmla="*/ 715365 w 1292225"/>
                  <a:gd name="connsiteY374" fmla="*/ 862959 h 892175"/>
                  <a:gd name="connsiteX375" fmla="*/ 703228 w 1292225"/>
                  <a:gd name="connsiteY375" fmla="*/ 863671 h 892175"/>
                  <a:gd name="connsiteX376" fmla="*/ 690377 w 1292225"/>
                  <a:gd name="connsiteY376" fmla="*/ 862959 h 892175"/>
                  <a:gd name="connsiteX377" fmla="*/ 686807 w 1292225"/>
                  <a:gd name="connsiteY377" fmla="*/ 862959 h 892175"/>
                  <a:gd name="connsiteX378" fmla="*/ 684665 w 1292225"/>
                  <a:gd name="connsiteY378" fmla="*/ 862246 h 892175"/>
                  <a:gd name="connsiteX379" fmla="*/ 678240 w 1292225"/>
                  <a:gd name="connsiteY379" fmla="*/ 862246 h 892175"/>
                  <a:gd name="connsiteX380" fmla="*/ 673242 w 1292225"/>
                  <a:gd name="connsiteY380" fmla="*/ 861533 h 892175"/>
                  <a:gd name="connsiteX381" fmla="*/ 671100 w 1292225"/>
                  <a:gd name="connsiteY381" fmla="*/ 861533 h 892175"/>
                  <a:gd name="connsiteX382" fmla="*/ 666103 w 1292225"/>
                  <a:gd name="connsiteY382" fmla="*/ 860821 h 892175"/>
                  <a:gd name="connsiteX383" fmla="*/ 660391 w 1292225"/>
                  <a:gd name="connsiteY383" fmla="*/ 859396 h 892175"/>
                  <a:gd name="connsiteX384" fmla="*/ 658250 w 1292225"/>
                  <a:gd name="connsiteY384" fmla="*/ 859396 h 892175"/>
                  <a:gd name="connsiteX385" fmla="*/ 654680 w 1292225"/>
                  <a:gd name="connsiteY385" fmla="*/ 858683 h 892175"/>
                  <a:gd name="connsiteX386" fmla="*/ 647541 w 1292225"/>
                  <a:gd name="connsiteY386" fmla="*/ 856545 h 892175"/>
                  <a:gd name="connsiteX387" fmla="*/ 646113 w 1292225"/>
                  <a:gd name="connsiteY387" fmla="*/ 856545 h 892175"/>
                  <a:gd name="connsiteX388" fmla="*/ 642543 w 1292225"/>
                  <a:gd name="connsiteY388" fmla="*/ 855833 h 892175"/>
                  <a:gd name="connsiteX389" fmla="*/ 634690 w 1292225"/>
                  <a:gd name="connsiteY389" fmla="*/ 853695 h 892175"/>
                  <a:gd name="connsiteX390" fmla="*/ 631834 w 1292225"/>
                  <a:gd name="connsiteY390" fmla="*/ 852982 h 892175"/>
                  <a:gd name="connsiteX391" fmla="*/ 623267 w 1292225"/>
                  <a:gd name="connsiteY391" fmla="*/ 850132 h 892175"/>
                  <a:gd name="connsiteX392" fmla="*/ 620411 w 1292225"/>
                  <a:gd name="connsiteY392" fmla="*/ 848707 h 892175"/>
                  <a:gd name="connsiteX393" fmla="*/ 611130 w 1292225"/>
                  <a:gd name="connsiteY393" fmla="*/ 845856 h 892175"/>
                  <a:gd name="connsiteX394" fmla="*/ 609702 w 1292225"/>
                  <a:gd name="connsiteY394" fmla="*/ 844431 h 892175"/>
                  <a:gd name="connsiteX395" fmla="*/ 600421 w 1292225"/>
                  <a:gd name="connsiteY395" fmla="*/ 840868 h 892175"/>
                  <a:gd name="connsiteX396" fmla="*/ 598993 w 1292225"/>
                  <a:gd name="connsiteY396" fmla="*/ 840155 h 892175"/>
                  <a:gd name="connsiteX397" fmla="*/ 589712 w 1292225"/>
                  <a:gd name="connsiteY397" fmla="*/ 835167 h 892175"/>
                  <a:gd name="connsiteX398" fmla="*/ 588998 w 1292225"/>
                  <a:gd name="connsiteY398" fmla="*/ 835167 h 892175"/>
                  <a:gd name="connsiteX399" fmla="*/ 588284 w 1292225"/>
                  <a:gd name="connsiteY399" fmla="*/ 834455 h 892175"/>
                  <a:gd name="connsiteX400" fmla="*/ 581858 w 1292225"/>
                  <a:gd name="connsiteY400" fmla="*/ 830892 h 892175"/>
                  <a:gd name="connsiteX401" fmla="*/ 574005 w 1292225"/>
                  <a:gd name="connsiteY401" fmla="*/ 836592 h 892175"/>
                  <a:gd name="connsiteX402" fmla="*/ 571149 w 1292225"/>
                  <a:gd name="connsiteY402" fmla="*/ 838730 h 892175"/>
                  <a:gd name="connsiteX403" fmla="*/ 561868 w 1292225"/>
                  <a:gd name="connsiteY403" fmla="*/ 845144 h 892175"/>
                  <a:gd name="connsiteX404" fmla="*/ 558299 w 1292225"/>
                  <a:gd name="connsiteY404" fmla="*/ 847281 h 892175"/>
                  <a:gd name="connsiteX405" fmla="*/ 549731 w 1292225"/>
                  <a:gd name="connsiteY405" fmla="*/ 852270 h 892175"/>
                  <a:gd name="connsiteX406" fmla="*/ 545448 w 1292225"/>
                  <a:gd name="connsiteY406" fmla="*/ 855120 h 892175"/>
                  <a:gd name="connsiteX407" fmla="*/ 539022 w 1292225"/>
                  <a:gd name="connsiteY407" fmla="*/ 858683 h 892175"/>
                  <a:gd name="connsiteX408" fmla="*/ 531883 w 1292225"/>
                  <a:gd name="connsiteY408" fmla="*/ 862246 h 892175"/>
                  <a:gd name="connsiteX409" fmla="*/ 526885 w 1292225"/>
                  <a:gd name="connsiteY409" fmla="*/ 864384 h 892175"/>
                  <a:gd name="connsiteX410" fmla="*/ 518318 w 1292225"/>
                  <a:gd name="connsiteY410" fmla="*/ 868659 h 892175"/>
                  <a:gd name="connsiteX411" fmla="*/ 514034 w 1292225"/>
                  <a:gd name="connsiteY411" fmla="*/ 870085 h 892175"/>
                  <a:gd name="connsiteX412" fmla="*/ 504039 w 1292225"/>
                  <a:gd name="connsiteY412" fmla="*/ 874360 h 892175"/>
                  <a:gd name="connsiteX413" fmla="*/ 501184 w 1292225"/>
                  <a:gd name="connsiteY413" fmla="*/ 875073 h 892175"/>
                  <a:gd name="connsiteX414" fmla="*/ 500470 w 1292225"/>
                  <a:gd name="connsiteY414" fmla="*/ 875785 h 892175"/>
                  <a:gd name="connsiteX415" fmla="*/ 490475 w 1292225"/>
                  <a:gd name="connsiteY415" fmla="*/ 878636 h 892175"/>
                  <a:gd name="connsiteX416" fmla="*/ 486905 w 1292225"/>
                  <a:gd name="connsiteY416" fmla="*/ 880061 h 892175"/>
                  <a:gd name="connsiteX417" fmla="*/ 476910 w 1292225"/>
                  <a:gd name="connsiteY417" fmla="*/ 882911 h 892175"/>
                  <a:gd name="connsiteX418" fmla="*/ 474768 w 1292225"/>
                  <a:gd name="connsiteY418" fmla="*/ 883624 h 892175"/>
                  <a:gd name="connsiteX419" fmla="*/ 462631 w 1292225"/>
                  <a:gd name="connsiteY419" fmla="*/ 886474 h 892175"/>
                  <a:gd name="connsiteX420" fmla="*/ 459775 w 1292225"/>
                  <a:gd name="connsiteY420" fmla="*/ 886474 h 892175"/>
                  <a:gd name="connsiteX421" fmla="*/ 447638 w 1292225"/>
                  <a:gd name="connsiteY421" fmla="*/ 888612 h 892175"/>
                  <a:gd name="connsiteX422" fmla="*/ 445497 w 1292225"/>
                  <a:gd name="connsiteY422" fmla="*/ 889325 h 892175"/>
                  <a:gd name="connsiteX423" fmla="*/ 432646 w 1292225"/>
                  <a:gd name="connsiteY423" fmla="*/ 890750 h 892175"/>
                  <a:gd name="connsiteX424" fmla="*/ 430504 w 1292225"/>
                  <a:gd name="connsiteY424" fmla="*/ 890750 h 892175"/>
                  <a:gd name="connsiteX425" fmla="*/ 417653 w 1292225"/>
                  <a:gd name="connsiteY425" fmla="*/ 892175 h 892175"/>
                  <a:gd name="connsiteX426" fmla="*/ 416939 w 1292225"/>
                  <a:gd name="connsiteY426" fmla="*/ 892175 h 892175"/>
                  <a:gd name="connsiteX427" fmla="*/ 402660 w 1292225"/>
                  <a:gd name="connsiteY427" fmla="*/ 892175 h 892175"/>
                  <a:gd name="connsiteX428" fmla="*/ 389096 w 1292225"/>
                  <a:gd name="connsiteY428" fmla="*/ 892175 h 892175"/>
                  <a:gd name="connsiteX429" fmla="*/ 388382 w 1292225"/>
                  <a:gd name="connsiteY429" fmla="*/ 892175 h 892175"/>
                  <a:gd name="connsiteX430" fmla="*/ 386240 w 1292225"/>
                  <a:gd name="connsiteY430" fmla="*/ 892175 h 892175"/>
                  <a:gd name="connsiteX431" fmla="*/ 373389 w 1292225"/>
                  <a:gd name="connsiteY431" fmla="*/ 890750 h 892175"/>
                  <a:gd name="connsiteX432" fmla="*/ 372675 w 1292225"/>
                  <a:gd name="connsiteY432" fmla="*/ 890750 h 892175"/>
                  <a:gd name="connsiteX433" fmla="*/ 371247 w 1292225"/>
                  <a:gd name="connsiteY433" fmla="*/ 890750 h 892175"/>
                  <a:gd name="connsiteX434" fmla="*/ 359110 w 1292225"/>
                  <a:gd name="connsiteY434" fmla="*/ 889325 h 892175"/>
                  <a:gd name="connsiteX435" fmla="*/ 357682 w 1292225"/>
                  <a:gd name="connsiteY435" fmla="*/ 889325 h 892175"/>
                  <a:gd name="connsiteX436" fmla="*/ 356968 w 1292225"/>
                  <a:gd name="connsiteY436" fmla="*/ 889325 h 892175"/>
                  <a:gd name="connsiteX437" fmla="*/ 344118 w 1292225"/>
                  <a:gd name="connsiteY437" fmla="*/ 886474 h 892175"/>
                  <a:gd name="connsiteX438" fmla="*/ 341976 w 1292225"/>
                  <a:gd name="connsiteY438" fmla="*/ 886474 h 892175"/>
                  <a:gd name="connsiteX439" fmla="*/ 329839 w 1292225"/>
                  <a:gd name="connsiteY439" fmla="*/ 883624 h 892175"/>
                  <a:gd name="connsiteX440" fmla="*/ 328411 w 1292225"/>
                  <a:gd name="connsiteY440" fmla="*/ 882911 h 892175"/>
                  <a:gd name="connsiteX441" fmla="*/ 316274 w 1292225"/>
                  <a:gd name="connsiteY441" fmla="*/ 880061 h 892175"/>
                  <a:gd name="connsiteX442" fmla="*/ 314132 w 1292225"/>
                  <a:gd name="connsiteY442" fmla="*/ 878636 h 892175"/>
                  <a:gd name="connsiteX443" fmla="*/ 301995 w 1292225"/>
                  <a:gd name="connsiteY443" fmla="*/ 875073 h 892175"/>
                  <a:gd name="connsiteX444" fmla="*/ 299854 w 1292225"/>
                  <a:gd name="connsiteY444" fmla="*/ 874360 h 892175"/>
                  <a:gd name="connsiteX445" fmla="*/ 289858 w 1292225"/>
                  <a:gd name="connsiteY445" fmla="*/ 870085 h 892175"/>
                  <a:gd name="connsiteX446" fmla="*/ 287717 w 1292225"/>
                  <a:gd name="connsiteY446" fmla="*/ 869372 h 892175"/>
                  <a:gd name="connsiteX447" fmla="*/ 287003 w 1292225"/>
                  <a:gd name="connsiteY447" fmla="*/ 869372 h 892175"/>
                  <a:gd name="connsiteX448" fmla="*/ 276294 w 1292225"/>
                  <a:gd name="connsiteY448" fmla="*/ 864384 h 892175"/>
                  <a:gd name="connsiteX449" fmla="*/ 273438 w 1292225"/>
                  <a:gd name="connsiteY449" fmla="*/ 862959 h 892175"/>
                  <a:gd name="connsiteX450" fmla="*/ 263443 w 1292225"/>
                  <a:gd name="connsiteY450" fmla="*/ 857970 h 892175"/>
                  <a:gd name="connsiteX451" fmla="*/ 262015 w 1292225"/>
                  <a:gd name="connsiteY451" fmla="*/ 856545 h 892175"/>
                  <a:gd name="connsiteX452" fmla="*/ 251306 w 1292225"/>
                  <a:gd name="connsiteY452" fmla="*/ 850844 h 892175"/>
                  <a:gd name="connsiteX453" fmla="*/ 248450 w 1292225"/>
                  <a:gd name="connsiteY453" fmla="*/ 849419 h 892175"/>
                  <a:gd name="connsiteX454" fmla="*/ 238455 w 1292225"/>
                  <a:gd name="connsiteY454" fmla="*/ 843006 h 892175"/>
                  <a:gd name="connsiteX455" fmla="*/ 236313 w 1292225"/>
                  <a:gd name="connsiteY455" fmla="*/ 840868 h 892175"/>
                  <a:gd name="connsiteX456" fmla="*/ 228460 w 1292225"/>
                  <a:gd name="connsiteY456" fmla="*/ 835167 h 892175"/>
                  <a:gd name="connsiteX457" fmla="*/ 227746 w 1292225"/>
                  <a:gd name="connsiteY457" fmla="*/ 835167 h 892175"/>
                  <a:gd name="connsiteX458" fmla="*/ 225604 w 1292225"/>
                  <a:gd name="connsiteY458" fmla="*/ 833742 h 892175"/>
                  <a:gd name="connsiteX459" fmla="*/ 217037 w 1292225"/>
                  <a:gd name="connsiteY459" fmla="*/ 826616 h 892175"/>
                  <a:gd name="connsiteX460" fmla="*/ 214181 w 1292225"/>
                  <a:gd name="connsiteY460" fmla="*/ 823766 h 892175"/>
                  <a:gd name="connsiteX461" fmla="*/ 206328 w 1292225"/>
                  <a:gd name="connsiteY461" fmla="*/ 817352 h 892175"/>
                  <a:gd name="connsiteX462" fmla="*/ 204186 w 1292225"/>
                  <a:gd name="connsiteY462" fmla="*/ 815927 h 892175"/>
                  <a:gd name="connsiteX463" fmla="*/ 196333 w 1292225"/>
                  <a:gd name="connsiteY463" fmla="*/ 808088 h 892175"/>
                  <a:gd name="connsiteX464" fmla="*/ 193477 w 1292225"/>
                  <a:gd name="connsiteY464" fmla="*/ 805238 h 892175"/>
                  <a:gd name="connsiteX465" fmla="*/ 185624 w 1292225"/>
                  <a:gd name="connsiteY465" fmla="*/ 797399 h 892175"/>
                  <a:gd name="connsiteX466" fmla="*/ 183482 w 1292225"/>
                  <a:gd name="connsiteY466" fmla="*/ 794549 h 892175"/>
                  <a:gd name="connsiteX467" fmla="*/ 177056 w 1292225"/>
                  <a:gd name="connsiteY467" fmla="*/ 787423 h 892175"/>
                  <a:gd name="connsiteX468" fmla="*/ 174915 w 1292225"/>
                  <a:gd name="connsiteY468" fmla="*/ 784573 h 892175"/>
                  <a:gd name="connsiteX469" fmla="*/ 171345 w 1292225"/>
                  <a:gd name="connsiteY469" fmla="*/ 780297 h 892175"/>
                  <a:gd name="connsiteX470" fmla="*/ 169203 w 1292225"/>
                  <a:gd name="connsiteY470" fmla="*/ 779584 h 892175"/>
                  <a:gd name="connsiteX471" fmla="*/ 164920 w 1292225"/>
                  <a:gd name="connsiteY471" fmla="*/ 777447 h 892175"/>
                  <a:gd name="connsiteX472" fmla="*/ 157780 w 1292225"/>
                  <a:gd name="connsiteY472" fmla="*/ 774596 h 892175"/>
                  <a:gd name="connsiteX473" fmla="*/ 157066 w 1292225"/>
                  <a:gd name="connsiteY473" fmla="*/ 773884 h 892175"/>
                  <a:gd name="connsiteX474" fmla="*/ 153497 w 1292225"/>
                  <a:gd name="connsiteY474" fmla="*/ 772458 h 892175"/>
                  <a:gd name="connsiteX475" fmla="*/ 145643 w 1292225"/>
                  <a:gd name="connsiteY475" fmla="*/ 768183 h 892175"/>
                  <a:gd name="connsiteX476" fmla="*/ 142788 w 1292225"/>
                  <a:gd name="connsiteY476" fmla="*/ 766758 h 892175"/>
                  <a:gd name="connsiteX477" fmla="*/ 132078 w 1292225"/>
                  <a:gd name="connsiteY477" fmla="*/ 761057 h 892175"/>
                  <a:gd name="connsiteX478" fmla="*/ 129937 w 1292225"/>
                  <a:gd name="connsiteY478" fmla="*/ 759632 h 892175"/>
                  <a:gd name="connsiteX479" fmla="*/ 129223 w 1292225"/>
                  <a:gd name="connsiteY479" fmla="*/ 758919 h 892175"/>
                  <a:gd name="connsiteX480" fmla="*/ 122083 w 1292225"/>
                  <a:gd name="connsiteY480" fmla="*/ 754643 h 892175"/>
                  <a:gd name="connsiteX481" fmla="*/ 119228 w 1292225"/>
                  <a:gd name="connsiteY481" fmla="*/ 752506 h 892175"/>
                  <a:gd name="connsiteX482" fmla="*/ 118514 w 1292225"/>
                  <a:gd name="connsiteY482" fmla="*/ 751793 h 892175"/>
                  <a:gd name="connsiteX483" fmla="*/ 112088 w 1292225"/>
                  <a:gd name="connsiteY483" fmla="*/ 747517 h 892175"/>
                  <a:gd name="connsiteX484" fmla="*/ 111374 w 1292225"/>
                  <a:gd name="connsiteY484" fmla="*/ 747517 h 892175"/>
                  <a:gd name="connsiteX485" fmla="*/ 108519 w 1292225"/>
                  <a:gd name="connsiteY485" fmla="*/ 744667 h 892175"/>
                  <a:gd name="connsiteX486" fmla="*/ 102093 w 1292225"/>
                  <a:gd name="connsiteY486" fmla="*/ 739679 h 892175"/>
                  <a:gd name="connsiteX487" fmla="*/ 101379 w 1292225"/>
                  <a:gd name="connsiteY487" fmla="*/ 739679 h 892175"/>
                  <a:gd name="connsiteX488" fmla="*/ 99237 w 1292225"/>
                  <a:gd name="connsiteY488" fmla="*/ 737541 h 892175"/>
                  <a:gd name="connsiteX489" fmla="*/ 89956 w 1292225"/>
                  <a:gd name="connsiteY489" fmla="*/ 729702 h 892175"/>
                  <a:gd name="connsiteX490" fmla="*/ 87814 w 1292225"/>
                  <a:gd name="connsiteY490" fmla="*/ 728277 h 892175"/>
                  <a:gd name="connsiteX491" fmla="*/ 81389 w 1292225"/>
                  <a:gd name="connsiteY491" fmla="*/ 721864 h 892175"/>
                  <a:gd name="connsiteX492" fmla="*/ 78533 w 1292225"/>
                  <a:gd name="connsiteY492" fmla="*/ 719013 h 892175"/>
                  <a:gd name="connsiteX493" fmla="*/ 78533 w 1292225"/>
                  <a:gd name="connsiteY493" fmla="*/ 718301 h 892175"/>
                  <a:gd name="connsiteX494" fmla="*/ 72822 w 1292225"/>
                  <a:gd name="connsiteY494" fmla="*/ 713313 h 892175"/>
                  <a:gd name="connsiteX495" fmla="*/ 69966 w 1292225"/>
                  <a:gd name="connsiteY495" fmla="*/ 709750 h 892175"/>
                  <a:gd name="connsiteX496" fmla="*/ 64255 w 1292225"/>
                  <a:gd name="connsiteY496" fmla="*/ 703336 h 892175"/>
                  <a:gd name="connsiteX497" fmla="*/ 62113 w 1292225"/>
                  <a:gd name="connsiteY497" fmla="*/ 700486 h 892175"/>
                  <a:gd name="connsiteX498" fmla="*/ 54973 w 1292225"/>
                  <a:gd name="connsiteY498" fmla="*/ 691935 h 892175"/>
                  <a:gd name="connsiteX499" fmla="*/ 54259 w 1292225"/>
                  <a:gd name="connsiteY499" fmla="*/ 691222 h 892175"/>
                  <a:gd name="connsiteX500" fmla="*/ 47834 w 1292225"/>
                  <a:gd name="connsiteY500" fmla="*/ 681246 h 892175"/>
                  <a:gd name="connsiteX501" fmla="*/ 45692 w 1292225"/>
                  <a:gd name="connsiteY501" fmla="*/ 679108 h 892175"/>
                  <a:gd name="connsiteX502" fmla="*/ 44978 w 1292225"/>
                  <a:gd name="connsiteY502" fmla="*/ 678395 h 892175"/>
                  <a:gd name="connsiteX503" fmla="*/ 40695 w 1292225"/>
                  <a:gd name="connsiteY503" fmla="*/ 671269 h 892175"/>
                  <a:gd name="connsiteX504" fmla="*/ 38553 w 1292225"/>
                  <a:gd name="connsiteY504" fmla="*/ 667706 h 892175"/>
                  <a:gd name="connsiteX505" fmla="*/ 34269 w 1292225"/>
                  <a:gd name="connsiteY505" fmla="*/ 660580 h 892175"/>
                  <a:gd name="connsiteX506" fmla="*/ 34269 w 1292225"/>
                  <a:gd name="connsiteY506" fmla="*/ 659868 h 892175"/>
                  <a:gd name="connsiteX507" fmla="*/ 32127 w 1292225"/>
                  <a:gd name="connsiteY507" fmla="*/ 657017 h 892175"/>
                  <a:gd name="connsiteX508" fmla="*/ 27844 w 1292225"/>
                  <a:gd name="connsiteY508" fmla="*/ 648466 h 892175"/>
                  <a:gd name="connsiteX509" fmla="*/ 27130 w 1292225"/>
                  <a:gd name="connsiteY509" fmla="*/ 646328 h 892175"/>
                  <a:gd name="connsiteX510" fmla="*/ 22132 w 1292225"/>
                  <a:gd name="connsiteY510" fmla="*/ 634927 h 892175"/>
                  <a:gd name="connsiteX511" fmla="*/ 20704 w 1292225"/>
                  <a:gd name="connsiteY511" fmla="*/ 632789 h 892175"/>
                  <a:gd name="connsiteX512" fmla="*/ 20704 w 1292225"/>
                  <a:gd name="connsiteY512" fmla="*/ 632076 h 892175"/>
                  <a:gd name="connsiteX513" fmla="*/ 17135 w 1292225"/>
                  <a:gd name="connsiteY513" fmla="*/ 623525 h 892175"/>
                  <a:gd name="connsiteX514" fmla="*/ 15707 w 1292225"/>
                  <a:gd name="connsiteY514" fmla="*/ 620675 h 892175"/>
                  <a:gd name="connsiteX515" fmla="*/ 15707 w 1292225"/>
                  <a:gd name="connsiteY515" fmla="*/ 619962 h 892175"/>
                  <a:gd name="connsiteX516" fmla="*/ 12851 w 1292225"/>
                  <a:gd name="connsiteY516" fmla="*/ 612123 h 892175"/>
                  <a:gd name="connsiteX517" fmla="*/ 12137 w 1292225"/>
                  <a:gd name="connsiteY517" fmla="*/ 607848 h 892175"/>
                  <a:gd name="connsiteX518" fmla="*/ 9281 w 1292225"/>
                  <a:gd name="connsiteY518" fmla="*/ 599297 h 892175"/>
                  <a:gd name="connsiteX519" fmla="*/ 9281 w 1292225"/>
                  <a:gd name="connsiteY519" fmla="*/ 598584 h 892175"/>
                  <a:gd name="connsiteX520" fmla="*/ 8567 w 1292225"/>
                  <a:gd name="connsiteY520" fmla="*/ 595734 h 892175"/>
                  <a:gd name="connsiteX521" fmla="*/ 5712 w 1292225"/>
                  <a:gd name="connsiteY521" fmla="*/ 583619 h 892175"/>
                  <a:gd name="connsiteX522" fmla="*/ 4998 w 1292225"/>
                  <a:gd name="connsiteY522" fmla="*/ 580769 h 892175"/>
                  <a:gd name="connsiteX523" fmla="*/ 3570 w 1292225"/>
                  <a:gd name="connsiteY523" fmla="*/ 571505 h 892175"/>
                  <a:gd name="connsiteX524" fmla="*/ 2856 w 1292225"/>
                  <a:gd name="connsiteY524" fmla="*/ 568655 h 892175"/>
                  <a:gd name="connsiteX525" fmla="*/ 2856 w 1292225"/>
                  <a:gd name="connsiteY525" fmla="*/ 567942 h 892175"/>
                  <a:gd name="connsiteX526" fmla="*/ 2856 w 1292225"/>
                  <a:gd name="connsiteY526" fmla="*/ 567230 h 892175"/>
                  <a:gd name="connsiteX527" fmla="*/ 1428 w 1292225"/>
                  <a:gd name="connsiteY527" fmla="*/ 558678 h 892175"/>
                  <a:gd name="connsiteX528" fmla="*/ 1428 w 1292225"/>
                  <a:gd name="connsiteY528" fmla="*/ 554403 h 892175"/>
                  <a:gd name="connsiteX529" fmla="*/ 714 w 1292225"/>
                  <a:gd name="connsiteY529" fmla="*/ 545852 h 892175"/>
                  <a:gd name="connsiteX530" fmla="*/ 714 w 1292225"/>
                  <a:gd name="connsiteY530" fmla="*/ 545139 h 892175"/>
                  <a:gd name="connsiteX531" fmla="*/ 0 w 1292225"/>
                  <a:gd name="connsiteY531" fmla="*/ 541576 h 892175"/>
                  <a:gd name="connsiteX532" fmla="*/ 0 w 1292225"/>
                  <a:gd name="connsiteY532" fmla="*/ 528749 h 892175"/>
                  <a:gd name="connsiteX533" fmla="*/ 67110 w 1292225"/>
                  <a:gd name="connsiteY533" fmla="*/ 350599 h 892175"/>
                  <a:gd name="connsiteX534" fmla="*/ 179912 w 1292225"/>
                  <a:gd name="connsiteY534" fmla="*/ 274351 h 892175"/>
                  <a:gd name="connsiteX535" fmla="*/ 480479 w 1292225"/>
                  <a:gd name="connsiteY535" fmla="*/ 0 h 8921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</a:cxnLst>
                <a:rect l="l" t="t" r="r" b="b"/>
                <a:pathLst>
                  <a:path w="1292225" h="892175">
                    <a:moveTo>
                      <a:pt x="479562" y="30162"/>
                    </a:moveTo>
                    <a:cubicBezTo>
                      <a:pt x="330953" y="30162"/>
                      <a:pt x="209494" y="149508"/>
                      <a:pt x="209494" y="297440"/>
                    </a:cubicBezTo>
                    <a:cubicBezTo>
                      <a:pt x="163053" y="309589"/>
                      <a:pt x="121614" y="335317"/>
                      <a:pt x="89463" y="371049"/>
                    </a:cubicBezTo>
                    <a:cubicBezTo>
                      <a:pt x="51596" y="414643"/>
                      <a:pt x="30162" y="470385"/>
                      <a:pt x="30162" y="528986"/>
                    </a:cubicBezTo>
                    <a:cubicBezTo>
                      <a:pt x="30162" y="532560"/>
                      <a:pt x="30162" y="536133"/>
                      <a:pt x="30162" y="540421"/>
                    </a:cubicBezTo>
                    <a:cubicBezTo>
                      <a:pt x="30162" y="541135"/>
                      <a:pt x="30877" y="541850"/>
                      <a:pt x="30877" y="543279"/>
                    </a:cubicBezTo>
                    <a:cubicBezTo>
                      <a:pt x="30877" y="543279"/>
                      <a:pt x="30877" y="543279"/>
                      <a:pt x="30877" y="543994"/>
                    </a:cubicBezTo>
                    <a:cubicBezTo>
                      <a:pt x="30877" y="546138"/>
                      <a:pt x="30877" y="548996"/>
                      <a:pt x="30877" y="551855"/>
                    </a:cubicBezTo>
                    <a:cubicBezTo>
                      <a:pt x="31591" y="552570"/>
                      <a:pt x="31591" y="553999"/>
                      <a:pt x="31591" y="555428"/>
                    </a:cubicBezTo>
                    <a:cubicBezTo>
                      <a:pt x="31591" y="558287"/>
                      <a:pt x="32306" y="560431"/>
                      <a:pt x="32306" y="563289"/>
                    </a:cubicBezTo>
                    <a:cubicBezTo>
                      <a:pt x="32306" y="563289"/>
                      <a:pt x="32306" y="563289"/>
                      <a:pt x="33020" y="564004"/>
                    </a:cubicBezTo>
                    <a:cubicBezTo>
                      <a:pt x="33020" y="564719"/>
                      <a:pt x="33020" y="566148"/>
                      <a:pt x="33020" y="566863"/>
                    </a:cubicBezTo>
                    <a:cubicBezTo>
                      <a:pt x="33735" y="569721"/>
                      <a:pt x="34449" y="572580"/>
                      <a:pt x="34449" y="575438"/>
                    </a:cubicBezTo>
                    <a:cubicBezTo>
                      <a:pt x="34449" y="575438"/>
                      <a:pt x="35164" y="576868"/>
                      <a:pt x="35164" y="577582"/>
                    </a:cubicBezTo>
                    <a:cubicBezTo>
                      <a:pt x="35878" y="581156"/>
                      <a:pt x="36592" y="584729"/>
                      <a:pt x="37307" y="588302"/>
                    </a:cubicBezTo>
                    <a:cubicBezTo>
                      <a:pt x="38021" y="589017"/>
                      <a:pt x="38021" y="589731"/>
                      <a:pt x="38021" y="590446"/>
                    </a:cubicBezTo>
                    <a:cubicBezTo>
                      <a:pt x="38021" y="590446"/>
                      <a:pt x="38021" y="590446"/>
                      <a:pt x="38736" y="591161"/>
                    </a:cubicBezTo>
                    <a:cubicBezTo>
                      <a:pt x="39450" y="594019"/>
                      <a:pt x="40165" y="596163"/>
                      <a:pt x="40879" y="599022"/>
                    </a:cubicBezTo>
                    <a:cubicBezTo>
                      <a:pt x="40879" y="599736"/>
                      <a:pt x="41594" y="602595"/>
                      <a:pt x="41594" y="602595"/>
                    </a:cubicBezTo>
                    <a:cubicBezTo>
                      <a:pt x="42308" y="604739"/>
                      <a:pt x="43023" y="606883"/>
                      <a:pt x="44452" y="609741"/>
                    </a:cubicBezTo>
                    <a:cubicBezTo>
                      <a:pt x="44452" y="609741"/>
                      <a:pt x="44452" y="609741"/>
                      <a:pt x="44452" y="610456"/>
                    </a:cubicBezTo>
                    <a:cubicBezTo>
                      <a:pt x="44452" y="611171"/>
                      <a:pt x="45166" y="611885"/>
                      <a:pt x="45166" y="613315"/>
                    </a:cubicBezTo>
                    <a:cubicBezTo>
                      <a:pt x="46595" y="615459"/>
                      <a:pt x="47309" y="618317"/>
                      <a:pt x="48024" y="620461"/>
                    </a:cubicBezTo>
                    <a:cubicBezTo>
                      <a:pt x="48024" y="620461"/>
                      <a:pt x="48024" y="620461"/>
                      <a:pt x="48738" y="621176"/>
                    </a:cubicBezTo>
                    <a:cubicBezTo>
                      <a:pt x="48738" y="621891"/>
                      <a:pt x="49453" y="622605"/>
                      <a:pt x="49453" y="623320"/>
                    </a:cubicBezTo>
                    <a:cubicBezTo>
                      <a:pt x="50882" y="626893"/>
                      <a:pt x="52311" y="629752"/>
                      <a:pt x="53740" y="633325"/>
                    </a:cubicBezTo>
                    <a:cubicBezTo>
                      <a:pt x="54454" y="633325"/>
                      <a:pt x="55169" y="634754"/>
                      <a:pt x="55169" y="634754"/>
                    </a:cubicBezTo>
                    <a:cubicBezTo>
                      <a:pt x="55883" y="637613"/>
                      <a:pt x="57312" y="639757"/>
                      <a:pt x="58741" y="642615"/>
                    </a:cubicBezTo>
                    <a:cubicBezTo>
                      <a:pt x="59455" y="643330"/>
                      <a:pt x="60170" y="644759"/>
                      <a:pt x="60170" y="645474"/>
                    </a:cubicBezTo>
                    <a:cubicBezTo>
                      <a:pt x="60170" y="645474"/>
                      <a:pt x="60170" y="645474"/>
                      <a:pt x="60884" y="645474"/>
                    </a:cubicBezTo>
                    <a:cubicBezTo>
                      <a:pt x="61599" y="647618"/>
                      <a:pt x="63028" y="649762"/>
                      <a:pt x="64457" y="651906"/>
                    </a:cubicBezTo>
                    <a:cubicBezTo>
                      <a:pt x="65171" y="653335"/>
                      <a:pt x="65886" y="654050"/>
                      <a:pt x="66600" y="655479"/>
                    </a:cubicBezTo>
                    <a:cubicBezTo>
                      <a:pt x="67315" y="657623"/>
                      <a:pt x="68743" y="659767"/>
                      <a:pt x="70172" y="661196"/>
                    </a:cubicBezTo>
                    <a:cubicBezTo>
                      <a:pt x="70172" y="661196"/>
                      <a:pt x="70172" y="661196"/>
                      <a:pt x="70887" y="661911"/>
                    </a:cubicBezTo>
                    <a:cubicBezTo>
                      <a:pt x="70887" y="662625"/>
                      <a:pt x="71601" y="663340"/>
                      <a:pt x="72316" y="664055"/>
                    </a:cubicBezTo>
                    <a:cubicBezTo>
                      <a:pt x="74459" y="667628"/>
                      <a:pt x="76603" y="670487"/>
                      <a:pt x="78032" y="672630"/>
                    </a:cubicBezTo>
                    <a:cubicBezTo>
                      <a:pt x="78746" y="673345"/>
                      <a:pt x="78746" y="673345"/>
                      <a:pt x="78746" y="673345"/>
                    </a:cubicBezTo>
                    <a:cubicBezTo>
                      <a:pt x="80889" y="676204"/>
                      <a:pt x="83033" y="678348"/>
                      <a:pt x="85176" y="681206"/>
                    </a:cubicBezTo>
                    <a:cubicBezTo>
                      <a:pt x="85176" y="681921"/>
                      <a:pt x="85891" y="682636"/>
                      <a:pt x="86605" y="683350"/>
                    </a:cubicBezTo>
                    <a:cubicBezTo>
                      <a:pt x="86605" y="683350"/>
                      <a:pt x="86605" y="683350"/>
                      <a:pt x="87320" y="684065"/>
                    </a:cubicBezTo>
                    <a:cubicBezTo>
                      <a:pt x="88749" y="685494"/>
                      <a:pt x="90178" y="687638"/>
                      <a:pt x="91606" y="689067"/>
                    </a:cubicBezTo>
                    <a:cubicBezTo>
                      <a:pt x="93035" y="690497"/>
                      <a:pt x="93750" y="691211"/>
                      <a:pt x="94464" y="691926"/>
                    </a:cubicBezTo>
                    <a:cubicBezTo>
                      <a:pt x="95893" y="694070"/>
                      <a:pt x="98037" y="695499"/>
                      <a:pt x="99466" y="697643"/>
                    </a:cubicBezTo>
                    <a:cubicBezTo>
                      <a:pt x="99466" y="697643"/>
                      <a:pt x="99466" y="697643"/>
                      <a:pt x="100180" y="697643"/>
                    </a:cubicBezTo>
                    <a:cubicBezTo>
                      <a:pt x="100895" y="698358"/>
                      <a:pt x="101609" y="699072"/>
                      <a:pt x="102323" y="699787"/>
                    </a:cubicBezTo>
                    <a:cubicBezTo>
                      <a:pt x="103752" y="701931"/>
                      <a:pt x="105896" y="704075"/>
                      <a:pt x="108039" y="705504"/>
                    </a:cubicBezTo>
                    <a:cubicBezTo>
                      <a:pt x="108039" y="705504"/>
                      <a:pt x="108039" y="705504"/>
                      <a:pt x="108754" y="706219"/>
                    </a:cubicBezTo>
                    <a:cubicBezTo>
                      <a:pt x="108754" y="706219"/>
                      <a:pt x="108754" y="706219"/>
                      <a:pt x="109468" y="706934"/>
                    </a:cubicBezTo>
                    <a:cubicBezTo>
                      <a:pt x="112326" y="709792"/>
                      <a:pt x="115184" y="711936"/>
                      <a:pt x="118042" y="714080"/>
                    </a:cubicBezTo>
                    <a:cubicBezTo>
                      <a:pt x="118756" y="714795"/>
                      <a:pt x="118756" y="714795"/>
                      <a:pt x="119471" y="715509"/>
                    </a:cubicBezTo>
                    <a:cubicBezTo>
                      <a:pt x="119471" y="715509"/>
                      <a:pt x="119471" y="715509"/>
                      <a:pt x="120185" y="716224"/>
                    </a:cubicBezTo>
                    <a:cubicBezTo>
                      <a:pt x="122329" y="717653"/>
                      <a:pt x="124472" y="719083"/>
                      <a:pt x="125901" y="720512"/>
                    </a:cubicBezTo>
                    <a:cubicBezTo>
                      <a:pt x="127330" y="721227"/>
                      <a:pt x="128044" y="721941"/>
                      <a:pt x="128759" y="722656"/>
                    </a:cubicBezTo>
                    <a:cubicBezTo>
                      <a:pt x="128759" y="722656"/>
                      <a:pt x="128759" y="722656"/>
                      <a:pt x="129473" y="723370"/>
                    </a:cubicBezTo>
                    <a:cubicBezTo>
                      <a:pt x="130902" y="724085"/>
                      <a:pt x="133046" y="725514"/>
                      <a:pt x="135189" y="726944"/>
                    </a:cubicBezTo>
                    <a:cubicBezTo>
                      <a:pt x="135189" y="726944"/>
                      <a:pt x="135189" y="726944"/>
                      <a:pt x="135189" y="727658"/>
                    </a:cubicBezTo>
                    <a:cubicBezTo>
                      <a:pt x="136618" y="727658"/>
                      <a:pt x="137332" y="728373"/>
                      <a:pt x="138047" y="729088"/>
                    </a:cubicBezTo>
                    <a:cubicBezTo>
                      <a:pt x="140190" y="730517"/>
                      <a:pt x="142334" y="731946"/>
                      <a:pt x="144477" y="733376"/>
                    </a:cubicBezTo>
                    <a:cubicBezTo>
                      <a:pt x="144477" y="733376"/>
                      <a:pt x="144477" y="733376"/>
                      <a:pt x="145192" y="733376"/>
                    </a:cubicBezTo>
                    <a:cubicBezTo>
                      <a:pt x="145906" y="734090"/>
                      <a:pt x="146620" y="734805"/>
                      <a:pt x="147335" y="734805"/>
                    </a:cubicBezTo>
                    <a:cubicBezTo>
                      <a:pt x="150193" y="736949"/>
                      <a:pt x="153765" y="738378"/>
                      <a:pt x="156623" y="739807"/>
                    </a:cubicBezTo>
                    <a:cubicBezTo>
                      <a:pt x="157337" y="740522"/>
                      <a:pt x="158052" y="740522"/>
                      <a:pt x="158766" y="741237"/>
                    </a:cubicBezTo>
                    <a:cubicBezTo>
                      <a:pt x="161624" y="742666"/>
                      <a:pt x="163768" y="744095"/>
                      <a:pt x="165911" y="744810"/>
                    </a:cubicBezTo>
                    <a:cubicBezTo>
                      <a:pt x="167340" y="745525"/>
                      <a:pt x="168054" y="746239"/>
                      <a:pt x="168769" y="746239"/>
                    </a:cubicBezTo>
                    <a:cubicBezTo>
                      <a:pt x="168769" y="746239"/>
                      <a:pt x="168769" y="746239"/>
                      <a:pt x="169483" y="746954"/>
                    </a:cubicBezTo>
                    <a:cubicBezTo>
                      <a:pt x="171627" y="747669"/>
                      <a:pt x="173770" y="748383"/>
                      <a:pt x="175914" y="749812"/>
                    </a:cubicBezTo>
                    <a:cubicBezTo>
                      <a:pt x="177343" y="749812"/>
                      <a:pt x="178771" y="750527"/>
                      <a:pt x="180200" y="751242"/>
                    </a:cubicBezTo>
                    <a:cubicBezTo>
                      <a:pt x="182344" y="751956"/>
                      <a:pt x="184487" y="752671"/>
                      <a:pt x="186631" y="754100"/>
                    </a:cubicBezTo>
                    <a:cubicBezTo>
                      <a:pt x="186631" y="754100"/>
                      <a:pt x="186631" y="754100"/>
                      <a:pt x="187345" y="754100"/>
                    </a:cubicBezTo>
                    <a:cubicBezTo>
                      <a:pt x="188060" y="754100"/>
                      <a:pt x="188774" y="754815"/>
                      <a:pt x="189488" y="754815"/>
                    </a:cubicBezTo>
                    <a:cubicBezTo>
                      <a:pt x="189488" y="754815"/>
                      <a:pt x="190917" y="756959"/>
                      <a:pt x="191632" y="757674"/>
                    </a:cubicBezTo>
                    <a:cubicBezTo>
                      <a:pt x="193775" y="760532"/>
                      <a:pt x="195919" y="763391"/>
                      <a:pt x="198062" y="765535"/>
                    </a:cubicBezTo>
                    <a:cubicBezTo>
                      <a:pt x="198777" y="766249"/>
                      <a:pt x="199491" y="766964"/>
                      <a:pt x="199491" y="767679"/>
                    </a:cubicBezTo>
                    <a:cubicBezTo>
                      <a:pt x="199491" y="767679"/>
                      <a:pt x="199491" y="767679"/>
                      <a:pt x="200206" y="768393"/>
                    </a:cubicBezTo>
                    <a:cubicBezTo>
                      <a:pt x="202349" y="770537"/>
                      <a:pt x="203778" y="772681"/>
                      <a:pt x="205921" y="774825"/>
                    </a:cubicBezTo>
                    <a:cubicBezTo>
                      <a:pt x="205921" y="774825"/>
                      <a:pt x="207350" y="776254"/>
                      <a:pt x="207350" y="776969"/>
                    </a:cubicBezTo>
                    <a:cubicBezTo>
                      <a:pt x="209494" y="779113"/>
                      <a:pt x="212351" y="781257"/>
                      <a:pt x="214495" y="784116"/>
                    </a:cubicBezTo>
                    <a:cubicBezTo>
                      <a:pt x="215209" y="784830"/>
                      <a:pt x="216638" y="785545"/>
                      <a:pt x="217353" y="786974"/>
                    </a:cubicBezTo>
                    <a:cubicBezTo>
                      <a:pt x="219496" y="789118"/>
                      <a:pt x="222354" y="791262"/>
                      <a:pt x="224497" y="793406"/>
                    </a:cubicBezTo>
                    <a:cubicBezTo>
                      <a:pt x="225212" y="794121"/>
                      <a:pt x="225926" y="795550"/>
                      <a:pt x="225926" y="795550"/>
                    </a:cubicBezTo>
                    <a:cubicBezTo>
                      <a:pt x="228070" y="796979"/>
                      <a:pt x="230928" y="799123"/>
                      <a:pt x="233071" y="801267"/>
                    </a:cubicBezTo>
                    <a:cubicBezTo>
                      <a:pt x="233071" y="801267"/>
                      <a:pt x="234500" y="802696"/>
                      <a:pt x="235214" y="803411"/>
                    </a:cubicBezTo>
                    <a:cubicBezTo>
                      <a:pt x="238072" y="805555"/>
                      <a:pt x="240930" y="807699"/>
                      <a:pt x="243788" y="809128"/>
                    </a:cubicBezTo>
                    <a:cubicBezTo>
                      <a:pt x="243788" y="809843"/>
                      <a:pt x="244502" y="810558"/>
                      <a:pt x="245217" y="810558"/>
                    </a:cubicBezTo>
                    <a:cubicBezTo>
                      <a:pt x="245217" y="810558"/>
                      <a:pt x="245217" y="810558"/>
                      <a:pt x="245931" y="811272"/>
                    </a:cubicBezTo>
                    <a:cubicBezTo>
                      <a:pt x="248075" y="812701"/>
                      <a:pt x="250933" y="814845"/>
                      <a:pt x="253076" y="816275"/>
                    </a:cubicBezTo>
                    <a:cubicBezTo>
                      <a:pt x="253076" y="816275"/>
                      <a:pt x="254505" y="817704"/>
                      <a:pt x="255219" y="817704"/>
                    </a:cubicBezTo>
                    <a:cubicBezTo>
                      <a:pt x="258077" y="819848"/>
                      <a:pt x="260935" y="821277"/>
                      <a:pt x="263793" y="823421"/>
                    </a:cubicBezTo>
                    <a:cubicBezTo>
                      <a:pt x="265222" y="824136"/>
                      <a:pt x="265937" y="824850"/>
                      <a:pt x="266651" y="824850"/>
                    </a:cubicBezTo>
                    <a:cubicBezTo>
                      <a:pt x="270223" y="826994"/>
                      <a:pt x="273081" y="829138"/>
                      <a:pt x="275939" y="830568"/>
                    </a:cubicBezTo>
                    <a:cubicBezTo>
                      <a:pt x="276654" y="830568"/>
                      <a:pt x="276654" y="830568"/>
                      <a:pt x="277368" y="831282"/>
                    </a:cubicBezTo>
                    <a:cubicBezTo>
                      <a:pt x="280226" y="832712"/>
                      <a:pt x="283084" y="834141"/>
                      <a:pt x="285942" y="835570"/>
                    </a:cubicBezTo>
                    <a:cubicBezTo>
                      <a:pt x="285942" y="835570"/>
                      <a:pt x="288085" y="836285"/>
                      <a:pt x="288799" y="836999"/>
                    </a:cubicBezTo>
                    <a:cubicBezTo>
                      <a:pt x="291657" y="838429"/>
                      <a:pt x="295230" y="839858"/>
                      <a:pt x="298802" y="841287"/>
                    </a:cubicBezTo>
                    <a:cubicBezTo>
                      <a:pt x="298802" y="841287"/>
                      <a:pt x="298802" y="841287"/>
                      <a:pt x="300945" y="842002"/>
                    </a:cubicBezTo>
                    <a:cubicBezTo>
                      <a:pt x="303803" y="843431"/>
                      <a:pt x="306661" y="844861"/>
                      <a:pt x="309519" y="845575"/>
                    </a:cubicBezTo>
                    <a:cubicBezTo>
                      <a:pt x="309519" y="845575"/>
                      <a:pt x="309519" y="845575"/>
                      <a:pt x="311662" y="846290"/>
                    </a:cubicBezTo>
                    <a:cubicBezTo>
                      <a:pt x="315235" y="847719"/>
                      <a:pt x="318807" y="849148"/>
                      <a:pt x="322379" y="849863"/>
                    </a:cubicBezTo>
                    <a:cubicBezTo>
                      <a:pt x="322379" y="849863"/>
                      <a:pt x="322379" y="849863"/>
                      <a:pt x="324523" y="850578"/>
                    </a:cubicBezTo>
                    <a:cubicBezTo>
                      <a:pt x="328810" y="852007"/>
                      <a:pt x="332382" y="853436"/>
                      <a:pt x="335240" y="854151"/>
                    </a:cubicBezTo>
                    <a:cubicBezTo>
                      <a:pt x="335954" y="854151"/>
                      <a:pt x="335954" y="854151"/>
                      <a:pt x="336669" y="854151"/>
                    </a:cubicBezTo>
                    <a:cubicBezTo>
                      <a:pt x="339527" y="854866"/>
                      <a:pt x="343099" y="855580"/>
                      <a:pt x="347386" y="857010"/>
                    </a:cubicBezTo>
                    <a:cubicBezTo>
                      <a:pt x="347386" y="857010"/>
                      <a:pt x="347386" y="857010"/>
                      <a:pt x="349529" y="857010"/>
                    </a:cubicBezTo>
                    <a:cubicBezTo>
                      <a:pt x="353102" y="857724"/>
                      <a:pt x="357388" y="858439"/>
                      <a:pt x="360961" y="859154"/>
                    </a:cubicBezTo>
                    <a:cubicBezTo>
                      <a:pt x="360961" y="859154"/>
                      <a:pt x="360961" y="859154"/>
                      <a:pt x="363104" y="859154"/>
                    </a:cubicBezTo>
                    <a:cubicBezTo>
                      <a:pt x="365962" y="859868"/>
                      <a:pt x="369534" y="860583"/>
                      <a:pt x="373107" y="860583"/>
                    </a:cubicBezTo>
                    <a:cubicBezTo>
                      <a:pt x="373107" y="860583"/>
                      <a:pt x="373107" y="860583"/>
                      <a:pt x="375250" y="861298"/>
                    </a:cubicBezTo>
                    <a:cubicBezTo>
                      <a:pt x="378822" y="861298"/>
                      <a:pt x="383109" y="862012"/>
                      <a:pt x="386682" y="862012"/>
                    </a:cubicBezTo>
                    <a:cubicBezTo>
                      <a:pt x="387396" y="862012"/>
                      <a:pt x="388825" y="862012"/>
                      <a:pt x="389539" y="862012"/>
                    </a:cubicBezTo>
                    <a:cubicBezTo>
                      <a:pt x="393826" y="862012"/>
                      <a:pt x="397399" y="862012"/>
                      <a:pt x="401685" y="862012"/>
                    </a:cubicBezTo>
                    <a:cubicBezTo>
                      <a:pt x="405258" y="862012"/>
                      <a:pt x="409544" y="862012"/>
                      <a:pt x="414546" y="862012"/>
                    </a:cubicBezTo>
                    <a:cubicBezTo>
                      <a:pt x="414546" y="862012"/>
                      <a:pt x="414546" y="862012"/>
                      <a:pt x="415260" y="862012"/>
                    </a:cubicBezTo>
                    <a:cubicBezTo>
                      <a:pt x="418833" y="862012"/>
                      <a:pt x="423119" y="861298"/>
                      <a:pt x="425977" y="861298"/>
                    </a:cubicBezTo>
                    <a:cubicBezTo>
                      <a:pt x="425977" y="861298"/>
                      <a:pt x="425977" y="861298"/>
                      <a:pt x="428121" y="860583"/>
                    </a:cubicBezTo>
                    <a:cubicBezTo>
                      <a:pt x="432407" y="860583"/>
                      <a:pt x="435980" y="859868"/>
                      <a:pt x="439552" y="859154"/>
                    </a:cubicBezTo>
                    <a:cubicBezTo>
                      <a:pt x="439552" y="859154"/>
                      <a:pt x="439552" y="859154"/>
                      <a:pt x="441696" y="859154"/>
                    </a:cubicBezTo>
                    <a:cubicBezTo>
                      <a:pt x="445982" y="858439"/>
                      <a:pt x="449555" y="857724"/>
                      <a:pt x="452413" y="857010"/>
                    </a:cubicBezTo>
                    <a:cubicBezTo>
                      <a:pt x="453127" y="857010"/>
                      <a:pt x="455270" y="857010"/>
                      <a:pt x="455270" y="857010"/>
                    </a:cubicBezTo>
                    <a:cubicBezTo>
                      <a:pt x="458843" y="855580"/>
                      <a:pt x="462415" y="854866"/>
                      <a:pt x="465987" y="854151"/>
                    </a:cubicBezTo>
                    <a:cubicBezTo>
                      <a:pt x="465987" y="854151"/>
                      <a:pt x="465987" y="854151"/>
                      <a:pt x="468131" y="853436"/>
                    </a:cubicBezTo>
                    <a:cubicBezTo>
                      <a:pt x="470989" y="852722"/>
                      <a:pt x="473847" y="852007"/>
                      <a:pt x="477419" y="851292"/>
                    </a:cubicBezTo>
                    <a:cubicBezTo>
                      <a:pt x="477419" y="851292"/>
                      <a:pt x="478848" y="850578"/>
                      <a:pt x="479562" y="849863"/>
                    </a:cubicBezTo>
                    <a:cubicBezTo>
                      <a:pt x="483135" y="849148"/>
                      <a:pt x="485992" y="848434"/>
                      <a:pt x="488850" y="847005"/>
                    </a:cubicBezTo>
                    <a:cubicBezTo>
                      <a:pt x="488850" y="847005"/>
                      <a:pt x="488850" y="847005"/>
                      <a:pt x="489565" y="847005"/>
                    </a:cubicBezTo>
                    <a:cubicBezTo>
                      <a:pt x="490279" y="846290"/>
                      <a:pt x="490994" y="846290"/>
                      <a:pt x="492423" y="845575"/>
                    </a:cubicBezTo>
                    <a:cubicBezTo>
                      <a:pt x="495281" y="844861"/>
                      <a:pt x="498138" y="843431"/>
                      <a:pt x="500996" y="842717"/>
                    </a:cubicBezTo>
                    <a:cubicBezTo>
                      <a:pt x="502425" y="842002"/>
                      <a:pt x="503140" y="841287"/>
                      <a:pt x="504569" y="840573"/>
                    </a:cubicBezTo>
                    <a:cubicBezTo>
                      <a:pt x="507427" y="839858"/>
                      <a:pt x="510284" y="838429"/>
                      <a:pt x="512428" y="836999"/>
                    </a:cubicBezTo>
                    <a:cubicBezTo>
                      <a:pt x="513857" y="836285"/>
                      <a:pt x="515286" y="835570"/>
                      <a:pt x="516715" y="834856"/>
                    </a:cubicBezTo>
                    <a:cubicBezTo>
                      <a:pt x="518858" y="834141"/>
                      <a:pt x="521001" y="833426"/>
                      <a:pt x="523145" y="831997"/>
                    </a:cubicBezTo>
                    <a:cubicBezTo>
                      <a:pt x="525288" y="831282"/>
                      <a:pt x="526717" y="829853"/>
                      <a:pt x="528861" y="829138"/>
                    </a:cubicBezTo>
                    <a:cubicBezTo>
                      <a:pt x="530289" y="827709"/>
                      <a:pt x="531718" y="826994"/>
                      <a:pt x="533147" y="826280"/>
                    </a:cubicBezTo>
                    <a:cubicBezTo>
                      <a:pt x="536005" y="824850"/>
                      <a:pt x="538149" y="823421"/>
                      <a:pt x="541006" y="821992"/>
                    </a:cubicBezTo>
                    <a:cubicBezTo>
                      <a:pt x="541721" y="821277"/>
                      <a:pt x="543150" y="820563"/>
                      <a:pt x="543864" y="819848"/>
                    </a:cubicBezTo>
                    <a:cubicBezTo>
                      <a:pt x="546722" y="817704"/>
                      <a:pt x="549580" y="816275"/>
                      <a:pt x="552438" y="814131"/>
                    </a:cubicBezTo>
                    <a:cubicBezTo>
                      <a:pt x="552438" y="814131"/>
                      <a:pt x="553867" y="812701"/>
                      <a:pt x="554581" y="812701"/>
                    </a:cubicBezTo>
                    <a:cubicBezTo>
                      <a:pt x="563155" y="806270"/>
                      <a:pt x="571014" y="799838"/>
                      <a:pt x="578159" y="793406"/>
                    </a:cubicBezTo>
                    <a:cubicBezTo>
                      <a:pt x="580302" y="794121"/>
                      <a:pt x="581731" y="795550"/>
                      <a:pt x="583875" y="796979"/>
                    </a:cubicBezTo>
                    <a:cubicBezTo>
                      <a:pt x="583875" y="796979"/>
                      <a:pt x="583875" y="796979"/>
                      <a:pt x="585303" y="798409"/>
                    </a:cubicBezTo>
                    <a:cubicBezTo>
                      <a:pt x="585303" y="798409"/>
                      <a:pt x="585303" y="798409"/>
                      <a:pt x="586732" y="799123"/>
                    </a:cubicBezTo>
                    <a:cubicBezTo>
                      <a:pt x="588876" y="800552"/>
                      <a:pt x="591734" y="801982"/>
                      <a:pt x="593877" y="803411"/>
                    </a:cubicBezTo>
                    <a:cubicBezTo>
                      <a:pt x="596735" y="804840"/>
                      <a:pt x="599593" y="806984"/>
                      <a:pt x="602451" y="808414"/>
                    </a:cubicBezTo>
                    <a:cubicBezTo>
                      <a:pt x="602451" y="808414"/>
                      <a:pt x="602451" y="808414"/>
                      <a:pt x="603165" y="808414"/>
                    </a:cubicBezTo>
                    <a:cubicBezTo>
                      <a:pt x="606023" y="809843"/>
                      <a:pt x="608881" y="811272"/>
                      <a:pt x="611739" y="812701"/>
                    </a:cubicBezTo>
                    <a:cubicBezTo>
                      <a:pt x="611739" y="812701"/>
                      <a:pt x="612453" y="812701"/>
                      <a:pt x="612453" y="813416"/>
                    </a:cubicBezTo>
                    <a:cubicBezTo>
                      <a:pt x="615311" y="814845"/>
                      <a:pt x="618169" y="815560"/>
                      <a:pt x="621027" y="816989"/>
                    </a:cubicBezTo>
                    <a:cubicBezTo>
                      <a:pt x="621027" y="816989"/>
                      <a:pt x="621741" y="816989"/>
                      <a:pt x="622456" y="817704"/>
                    </a:cubicBezTo>
                    <a:cubicBezTo>
                      <a:pt x="624599" y="818419"/>
                      <a:pt x="627457" y="819848"/>
                      <a:pt x="630315" y="820563"/>
                    </a:cubicBezTo>
                    <a:cubicBezTo>
                      <a:pt x="631029" y="820563"/>
                      <a:pt x="631029" y="820563"/>
                      <a:pt x="632458" y="821277"/>
                    </a:cubicBezTo>
                    <a:cubicBezTo>
                      <a:pt x="634602" y="821992"/>
                      <a:pt x="637460" y="822707"/>
                      <a:pt x="640317" y="824136"/>
                    </a:cubicBezTo>
                    <a:cubicBezTo>
                      <a:pt x="640317" y="824136"/>
                      <a:pt x="641032" y="824136"/>
                      <a:pt x="641746" y="824136"/>
                    </a:cubicBezTo>
                    <a:cubicBezTo>
                      <a:pt x="641746" y="824136"/>
                      <a:pt x="641746" y="824136"/>
                      <a:pt x="642461" y="824850"/>
                    </a:cubicBezTo>
                    <a:cubicBezTo>
                      <a:pt x="645319" y="825565"/>
                      <a:pt x="647462" y="826280"/>
                      <a:pt x="649606" y="826280"/>
                    </a:cubicBezTo>
                    <a:cubicBezTo>
                      <a:pt x="650320" y="826994"/>
                      <a:pt x="651749" y="826994"/>
                      <a:pt x="652463" y="826994"/>
                    </a:cubicBezTo>
                    <a:cubicBezTo>
                      <a:pt x="652463" y="826994"/>
                      <a:pt x="652463" y="826994"/>
                      <a:pt x="653892" y="827709"/>
                    </a:cubicBezTo>
                    <a:cubicBezTo>
                      <a:pt x="656036" y="827709"/>
                      <a:pt x="658179" y="828424"/>
                      <a:pt x="659608" y="829138"/>
                    </a:cubicBezTo>
                    <a:cubicBezTo>
                      <a:pt x="661037" y="829138"/>
                      <a:pt x="661751" y="829138"/>
                      <a:pt x="663180" y="829138"/>
                    </a:cubicBezTo>
                    <a:cubicBezTo>
                      <a:pt x="663180" y="829138"/>
                      <a:pt x="663180" y="829138"/>
                      <a:pt x="665324" y="829853"/>
                    </a:cubicBezTo>
                    <a:cubicBezTo>
                      <a:pt x="666753" y="829853"/>
                      <a:pt x="668182" y="830568"/>
                      <a:pt x="670325" y="830568"/>
                    </a:cubicBezTo>
                    <a:cubicBezTo>
                      <a:pt x="671754" y="830568"/>
                      <a:pt x="673183" y="831282"/>
                      <a:pt x="673897" y="831282"/>
                    </a:cubicBezTo>
                    <a:cubicBezTo>
                      <a:pt x="673897" y="831282"/>
                      <a:pt x="673897" y="831282"/>
                      <a:pt x="676755" y="831282"/>
                    </a:cubicBezTo>
                    <a:cubicBezTo>
                      <a:pt x="678184" y="831997"/>
                      <a:pt x="679613" y="831997"/>
                      <a:pt x="681042" y="831997"/>
                    </a:cubicBezTo>
                    <a:cubicBezTo>
                      <a:pt x="682471" y="831997"/>
                      <a:pt x="684614" y="831997"/>
                      <a:pt x="686043" y="832712"/>
                    </a:cubicBezTo>
                    <a:cubicBezTo>
                      <a:pt x="686043" y="832712"/>
                      <a:pt x="686043" y="832712"/>
                      <a:pt x="688187" y="832712"/>
                    </a:cubicBezTo>
                    <a:cubicBezTo>
                      <a:pt x="689616" y="832712"/>
                      <a:pt x="690330" y="832712"/>
                      <a:pt x="691759" y="832712"/>
                    </a:cubicBezTo>
                    <a:cubicBezTo>
                      <a:pt x="695331" y="832712"/>
                      <a:pt x="698904" y="833426"/>
                      <a:pt x="702476" y="833426"/>
                    </a:cubicBezTo>
                    <a:cubicBezTo>
                      <a:pt x="706048" y="833426"/>
                      <a:pt x="709621" y="832712"/>
                      <a:pt x="712479" y="832712"/>
                    </a:cubicBezTo>
                    <a:cubicBezTo>
                      <a:pt x="713908" y="832712"/>
                      <a:pt x="714622" y="832712"/>
                      <a:pt x="716051" y="832712"/>
                    </a:cubicBezTo>
                    <a:cubicBezTo>
                      <a:pt x="716051" y="832712"/>
                      <a:pt x="716051" y="832712"/>
                      <a:pt x="717480" y="832712"/>
                    </a:cubicBezTo>
                    <a:cubicBezTo>
                      <a:pt x="719623" y="832712"/>
                      <a:pt x="721767" y="831997"/>
                      <a:pt x="723196" y="831997"/>
                    </a:cubicBezTo>
                    <a:cubicBezTo>
                      <a:pt x="724625" y="831997"/>
                      <a:pt x="726054" y="831997"/>
                      <a:pt x="726768" y="831282"/>
                    </a:cubicBezTo>
                    <a:cubicBezTo>
                      <a:pt x="726768" y="831282"/>
                      <a:pt x="726768" y="831282"/>
                      <a:pt x="728911" y="831282"/>
                    </a:cubicBezTo>
                    <a:cubicBezTo>
                      <a:pt x="731055" y="831282"/>
                      <a:pt x="732484" y="831282"/>
                      <a:pt x="733913" y="830568"/>
                    </a:cubicBezTo>
                    <a:cubicBezTo>
                      <a:pt x="735342" y="830568"/>
                      <a:pt x="736771" y="830568"/>
                      <a:pt x="737485" y="829853"/>
                    </a:cubicBezTo>
                    <a:cubicBezTo>
                      <a:pt x="737485" y="829853"/>
                      <a:pt x="737485" y="829853"/>
                      <a:pt x="739628" y="829853"/>
                    </a:cubicBezTo>
                    <a:cubicBezTo>
                      <a:pt x="741057" y="829138"/>
                      <a:pt x="742486" y="829138"/>
                      <a:pt x="743915" y="829138"/>
                    </a:cubicBezTo>
                    <a:cubicBezTo>
                      <a:pt x="745344" y="828424"/>
                      <a:pt x="746773" y="828424"/>
                      <a:pt x="748202" y="827709"/>
                    </a:cubicBezTo>
                    <a:cubicBezTo>
                      <a:pt x="748202" y="827709"/>
                      <a:pt x="748202" y="827709"/>
                      <a:pt x="750345" y="827709"/>
                    </a:cubicBezTo>
                    <a:cubicBezTo>
                      <a:pt x="751774" y="826994"/>
                      <a:pt x="752489" y="826994"/>
                      <a:pt x="753918" y="826994"/>
                    </a:cubicBezTo>
                    <a:cubicBezTo>
                      <a:pt x="755347" y="826280"/>
                      <a:pt x="757490" y="825565"/>
                      <a:pt x="758919" y="825565"/>
                    </a:cubicBezTo>
                    <a:cubicBezTo>
                      <a:pt x="758919" y="825565"/>
                      <a:pt x="758919" y="825565"/>
                      <a:pt x="760348" y="824850"/>
                    </a:cubicBezTo>
                    <a:cubicBezTo>
                      <a:pt x="761777" y="824850"/>
                      <a:pt x="762491" y="824136"/>
                      <a:pt x="763920" y="824136"/>
                    </a:cubicBezTo>
                    <a:cubicBezTo>
                      <a:pt x="765349" y="823421"/>
                      <a:pt x="767493" y="822707"/>
                      <a:pt x="769636" y="821992"/>
                    </a:cubicBezTo>
                    <a:cubicBezTo>
                      <a:pt x="771065" y="821277"/>
                      <a:pt x="772494" y="821277"/>
                      <a:pt x="773208" y="820563"/>
                    </a:cubicBezTo>
                    <a:cubicBezTo>
                      <a:pt x="775352" y="819848"/>
                      <a:pt x="777495" y="819133"/>
                      <a:pt x="778924" y="818419"/>
                    </a:cubicBezTo>
                    <a:cubicBezTo>
                      <a:pt x="778924" y="818419"/>
                      <a:pt x="778924" y="818419"/>
                      <a:pt x="779639" y="818419"/>
                    </a:cubicBezTo>
                    <a:cubicBezTo>
                      <a:pt x="780353" y="818419"/>
                      <a:pt x="781782" y="817704"/>
                      <a:pt x="782496" y="816989"/>
                    </a:cubicBezTo>
                    <a:cubicBezTo>
                      <a:pt x="784640" y="816275"/>
                      <a:pt x="786783" y="815560"/>
                      <a:pt x="788927" y="814845"/>
                    </a:cubicBezTo>
                    <a:cubicBezTo>
                      <a:pt x="789641" y="814131"/>
                      <a:pt x="791070" y="813416"/>
                      <a:pt x="791785" y="813416"/>
                    </a:cubicBezTo>
                    <a:cubicBezTo>
                      <a:pt x="793928" y="812701"/>
                      <a:pt x="796071" y="811272"/>
                      <a:pt x="798215" y="810558"/>
                    </a:cubicBezTo>
                    <a:cubicBezTo>
                      <a:pt x="798215" y="810558"/>
                      <a:pt x="799644" y="809128"/>
                      <a:pt x="800358" y="809128"/>
                    </a:cubicBezTo>
                    <a:cubicBezTo>
                      <a:pt x="802502" y="807699"/>
                      <a:pt x="804645" y="806984"/>
                      <a:pt x="806788" y="805555"/>
                    </a:cubicBezTo>
                    <a:cubicBezTo>
                      <a:pt x="806788" y="805555"/>
                      <a:pt x="806788" y="805555"/>
                      <a:pt x="808932" y="804126"/>
                    </a:cubicBezTo>
                    <a:cubicBezTo>
                      <a:pt x="811075" y="802696"/>
                      <a:pt x="813219" y="801982"/>
                      <a:pt x="815362" y="800552"/>
                    </a:cubicBezTo>
                    <a:cubicBezTo>
                      <a:pt x="816076" y="799838"/>
                      <a:pt x="816791" y="799838"/>
                      <a:pt x="817505" y="799123"/>
                    </a:cubicBezTo>
                    <a:cubicBezTo>
                      <a:pt x="819649" y="797694"/>
                      <a:pt x="821792" y="796265"/>
                      <a:pt x="823936" y="794835"/>
                    </a:cubicBezTo>
                    <a:cubicBezTo>
                      <a:pt x="823936" y="794835"/>
                      <a:pt x="823936" y="794835"/>
                      <a:pt x="825365" y="794121"/>
                    </a:cubicBezTo>
                    <a:cubicBezTo>
                      <a:pt x="826079" y="792691"/>
                      <a:pt x="827508" y="791977"/>
                      <a:pt x="828937" y="791262"/>
                    </a:cubicBezTo>
                    <a:cubicBezTo>
                      <a:pt x="830366" y="791977"/>
                      <a:pt x="831795" y="792691"/>
                      <a:pt x="833224" y="793406"/>
                    </a:cubicBezTo>
                    <a:cubicBezTo>
                      <a:pt x="835367" y="794121"/>
                      <a:pt x="836796" y="794835"/>
                      <a:pt x="838939" y="795550"/>
                    </a:cubicBezTo>
                    <a:cubicBezTo>
                      <a:pt x="839654" y="796265"/>
                      <a:pt x="841083" y="796979"/>
                      <a:pt x="841797" y="796979"/>
                    </a:cubicBezTo>
                    <a:cubicBezTo>
                      <a:pt x="841797" y="796979"/>
                      <a:pt x="841797" y="796979"/>
                      <a:pt x="842512" y="797694"/>
                    </a:cubicBezTo>
                    <a:cubicBezTo>
                      <a:pt x="843941" y="797694"/>
                      <a:pt x="845370" y="798409"/>
                      <a:pt x="846799" y="799123"/>
                    </a:cubicBezTo>
                    <a:cubicBezTo>
                      <a:pt x="848227" y="799123"/>
                      <a:pt x="848942" y="799838"/>
                      <a:pt x="850371" y="800552"/>
                    </a:cubicBezTo>
                    <a:cubicBezTo>
                      <a:pt x="851800" y="801267"/>
                      <a:pt x="853943" y="801267"/>
                      <a:pt x="855372" y="801982"/>
                    </a:cubicBezTo>
                    <a:cubicBezTo>
                      <a:pt x="855372" y="801982"/>
                      <a:pt x="855372" y="801982"/>
                      <a:pt x="856087" y="801982"/>
                    </a:cubicBezTo>
                    <a:cubicBezTo>
                      <a:pt x="856801" y="802696"/>
                      <a:pt x="857516" y="802696"/>
                      <a:pt x="858230" y="802696"/>
                    </a:cubicBezTo>
                    <a:cubicBezTo>
                      <a:pt x="861088" y="804126"/>
                      <a:pt x="863231" y="804840"/>
                      <a:pt x="865375" y="804840"/>
                    </a:cubicBezTo>
                    <a:cubicBezTo>
                      <a:pt x="866089" y="805555"/>
                      <a:pt x="866804" y="805555"/>
                      <a:pt x="868233" y="805555"/>
                    </a:cubicBezTo>
                    <a:cubicBezTo>
                      <a:pt x="868233" y="805555"/>
                      <a:pt x="868233" y="805555"/>
                      <a:pt x="868233" y="806270"/>
                    </a:cubicBezTo>
                    <a:cubicBezTo>
                      <a:pt x="870376" y="806270"/>
                      <a:pt x="871805" y="806984"/>
                      <a:pt x="873948" y="806984"/>
                    </a:cubicBezTo>
                    <a:cubicBezTo>
                      <a:pt x="874663" y="807699"/>
                      <a:pt x="876092" y="807699"/>
                      <a:pt x="876806" y="807699"/>
                    </a:cubicBezTo>
                    <a:cubicBezTo>
                      <a:pt x="878950" y="808414"/>
                      <a:pt x="881807" y="808414"/>
                      <a:pt x="883951" y="809128"/>
                    </a:cubicBezTo>
                    <a:cubicBezTo>
                      <a:pt x="884665" y="809128"/>
                      <a:pt x="884665" y="809128"/>
                      <a:pt x="885380" y="809128"/>
                    </a:cubicBezTo>
                    <a:cubicBezTo>
                      <a:pt x="888238" y="809843"/>
                      <a:pt x="891096" y="809843"/>
                      <a:pt x="893953" y="810558"/>
                    </a:cubicBezTo>
                    <a:cubicBezTo>
                      <a:pt x="894668" y="810558"/>
                      <a:pt x="896811" y="810558"/>
                      <a:pt x="896811" y="810558"/>
                    </a:cubicBezTo>
                    <a:cubicBezTo>
                      <a:pt x="898955" y="811272"/>
                      <a:pt x="901098" y="811272"/>
                      <a:pt x="903241" y="811272"/>
                    </a:cubicBezTo>
                    <a:cubicBezTo>
                      <a:pt x="903241" y="811272"/>
                      <a:pt x="905385" y="811272"/>
                      <a:pt x="906099" y="811272"/>
                    </a:cubicBezTo>
                    <a:cubicBezTo>
                      <a:pt x="908957" y="811272"/>
                      <a:pt x="911101" y="811272"/>
                      <a:pt x="913958" y="811272"/>
                    </a:cubicBezTo>
                    <a:cubicBezTo>
                      <a:pt x="913958" y="811272"/>
                      <a:pt x="913958" y="811272"/>
                      <a:pt x="915387" y="811272"/>
                    </a:cubicBezTo>
                    <a:cubicBezTo>
                      <a:pt x="918960" y="811272"/>
                      <a:pt x="921818" y="811272"/>
                      <a:pt x="923961" y="811272"/>
                    </a:cubicBezTo>
                    <a:cubicBezTo>
                      <a:pt x="925390" y="811272"/>
                      <a:pt x="926104" y="811272"/>
                      <a:pt x="926819" y="811272"/>
                    </a:cubicBezTo>
                    <a:cubicBezTo>
                      <a:pt x="926819" y="811272"/>
                      <a:pt x="926819" y="811272"/>
                      <a:pt x="928248" y="811272"/>
                    </a:cubicBezTo>
                    <a:cubicBezTo>
                      <a:pt x="929677" y="811272"/>
                      <a:pt x="931820" y="810558"/>
                      <a:pt x="933964" y="810558"/>
                    </a:cubicBezTo>
                    <a:cubicBezTo>
                      <a:pt x="934678" y="810558"/>
                      <a:pt x="936107" y="810558"/>
                      <a:pt x="936821" y="810558"/>
                    </a:cubicBezTo>
                    <a:cubicBezTo>
                      <a:pt x="936821" y="810558"/>
                      <a:pt x="936821" y="810558"/>
                      <a:pt x="938250" y="809843"/>
                    </a:cubicBezTo>
                    <a:cubicBezTo>
                      <a:pt x="939679" y="809843"/>
                      <a:pt x="941823" y="809843"/>
                      <a:pt x="943252" y="809128"/>
                    </a:cubicBezTo>
                    <a:cubicBezTo>
                      <a:pt x="944681" y="809128"/>
                      <a:pt x="945395" y="809128"/>
                      <a:pt x="946824" y="809128"/>
                    </a:cubicBezTo>
                    <a:cubicBezTo>
                      <a:pt x="946824" y="809128"/>
                      <a:pt x="946824" y="809128"/>
                      <a:pt x="948253" y="808414"/>
                    </a:cubicBezTo>
                    <a:cubicBezTo>
                      <a:pt x="949682" y="808414"/>
                      <a:pt x="951111" y="808414"/>
                      <a:pt x="952540" y="807699"/>
                    </a:cubicBezTo>
                    <a:cubicBezTo>
                      <a:pt x="953969" y="807699"/>
                      <a:pt x="954683" y="807699"/>
                      <a:pt x="956112" y="806984"/>
                    </a:cubicBezTo>
                    <a:cubicBezTo>
                      <a:pt x="956112" y="806984"/>
                      <a:pt x="956112" y="806984"/>
                      <a:pt x="956827" y="806984"/>
                    </a:cubicBezTo>
                    <a:cubicBezTo>
                      <a:pt x="958255" y="806270"/>
                      <a:pt x="960399" y="806270"/>
                      <a:pt x="961828" y="805555"/>
                    </a:cubicBezTo>
                    <a:cubicBezTo>
                      <a:pt x="963257" y="805555"/>
                      <a:pt x="964686" y="804840"/>
                      <a:pt x="965400" y="804840"/>
                    </a:cubicBezTo>
                    <a:cubicBezTo>
                      <a:pt x="967544" y="804126"/>
                      <a:pt x="968972" y="804126"/>
                      <a:pt x="970401" y="803411"/>
                    </a:cubicBezTo>
                    <a:cubicBezTo>
                      <a:pt x="971830" y="802696"/>
                      <a:pt x="973259" y="802696"/>
                      <a:pt x="974688" y="801982"/>
                    </a:cubicBezTo>
                    <a:cubicBezTo>
                      <a:pt x="976117" y="801267"/>
                      <a:pt x="978261" y="801267"/>
                      <a:pt x="979689" y="800552"/>
                    </a:cubicBezTo>
                    <a:cubicBezTo>
                      <a:pt x="981118" y="799838"/>
                      <a:pt x="981833" y="799123"/>
                      <a:pt x="983262" y="799123"/>
                    </a:cubicBezTo>
                    <a:cubicBezTo>
                      <a:pt x="984691" y="798409"/>
                      <a:pt x="986834" y="797694"/>
                      <a:pt x="988263" y="796979"/>
                    </a:cubicBezTo>
                    <a:cubicBezTo>
                      <a:pt x="989692" y="796265"/>
                      <a:pt x="990407" y="796265"/>
                      <a:pt x="991835" y="795550"/>
                    </a:cubicBezTo>
                    <a:cubicBezTo>
                      <a:pt x="993264" y="794835"/>
                      <a:pt x="994693" y="794121"/>
                      <a:pt x="996837" y="793406"/>
                    </a:cubicBezTo>
                    <a:cubicBezTo>
                      <a:pt x="997551" y="792691"/>
                      <a:pt x="998980" y="791977"/>
                      <a:pt x="1000409" y="791977"/>
                    </a:cubicBezTo>
                    <a:cubicBezTo>
                      <a:pt x="1001838" y="791262"/>
                      <a:pt x="1003267" y="790547"/>
                      <a:pt x="1004696" y="789118"/>
                    </a:cubicBezTo>
                    <a:cubicBezTo>
                      <a:pt x="1006125" y="788403"/>
                      <a:pt x="1007554" y="788403"/>
                      <a:pt x="1008268" y="787689"/>
                    </a:cubicBezTo>
                    <a:cubicBezTo>
                      <a:pt x="1009697" y="786974"/>
                      <a:pt x="1011126" y="785545"/>
                      <a:pt x="1012555" y="784830"/>
                    </a:cubicBezTo>
                    <a:cubicBezTo>
                      <a:pt x="1012555" y="784830"/>
                      <a:pt x="1012555" y="784830"/>
                      <a:pt x="1013269" y="784830"/>
                    </a:cubicBezTo>
                    <a:cubicBezTo>
                      <a:pt x="1013984" y="784116"/>
                      <a:pt x="1015413" y="783401"/>
                      <a:pt x="1016127" y="782686"/>
                    </a:cubicBezTo>
                    <a:cubicBezTo>
                      <a:pt x="1017556" y="781972"/>
                      <a:pt x="1018985" y="781257"/>
                      <a:pt x="1020414" y="780542"/>
                    </a:cubicBezTo>
                    <a:cubicBezTo>
                      <a:pt x="1020414" y="780542"/>
                      <a:pt x="1020414" y="780542"/>
                      <a:pt x="1021129" y="779828"/>
                    </a:cubicBezTo>
                    <a:cubicBezTo>
                      <a:pt x="1021843" y="779113"/>
                      <a:pt x="1022558" y="778398"/>
                      <a:pt x="1023986" y="777684"/>
                    </a:cubicBezTo>
                    <a:cubicBezTo>
                      <a:pt x="1025415" y="776969"/>
                      <a:pt x="1026130" y="776254"/>
                      <a:pt x="1027559" y="775540"/>
                    </a:cubicBezTo>
                    <a:cubicBezTo>
                      <a:pt x="1027559" y="775540"/>
                      <a:pt x="1027559" y="775540"/>
                      <a:pt x="1028988" y="774110"/>
                    </a:cubicBezTo>
                    <a:cubicBezTo>
                      <a:pt x="1029702" y="774110"/>
                      <a:pt x="1030417" y="773396"/>
                      <a:pt x="1031131" y="772681"/>
                    </a:cubicBezTo>
                    <a:cubicBezTo>
                      <a:pt x="1032560" y="771967"/>
                      <a:pt x="1033989" y="770537"/>
                      <a:pt x="1035418" y="769108"/>
                    </a:cubicBezTo>
                    <a:cubicBezTo>
                      <a:pt x="1035418" y="769108"/>
                      <a:pt x="1035418" y="769108"/>
                      <a:pt x="1056138" y="769108"/>
                    </a:cubicBezTo>
                    <a:cubicBezTo>
                      <a:pt x="1149018" y="769108"/>
                      <a:pt x="1230468" y="706934"/>
                      <a:pt x="1254045" y="617603"/>
                    </a:cubicBezTo>
                    <a:cubicBezTo>
                      <a:pt x="1254759" y="614029"/>
                      <a:pt x="1255474" y="611171"/>
                      <a:pt x="1256188" y="607598"/>
                    </a:cubicBezTo>
                    <a:cubicBezTo>
                      <a:pt x="1258332" y="597592"/>
                      <a:pt x="1259761" y="587587"/>
                      <a:pt x="1260475" y="576868"/>
                    </a:cubicBezTo>
                    <a:cubicBezTo>
                      <a:pt x="1260475" y="573294"/>
                      <a:pt x="1260475" y="570436"/>
                      <a:pt x="1260475" y="566863"/>
                    </a:cubicBezTo>
                    <a:cubicBezTo>
                      <a:pt x="1260475" y="551855"/>
                      <a:pt x="1259046" y="536133"/>
                      <a:pt x="1255474" y="521840"/>
                    </a:cubicBezTo>
                    <a:cubicBezTo>
                      <a:pt x="1251187" y="503259"/>
                      <a:pt x="1244042" y="485393"/>
                      <a:pt x="1234754" y="468241"/>
                    </a:cubicBezTo>
                    <a:cubicBezTo>
                      <a:pt x="1229753" y="458951"/>
                      <a:pt x="1224037" y="450375"/>
                      <a:pt x="1216893" y="441799"/>
                    </a:cubicBezTo>
                    <a:cubicBezTo>
                      <a:pt x="1211177" y="434653"/>
                      <a:pt x="1204747" y="427506"/>
                      <a:pt x="1198317" y="421074"/>
                    </a:cubicBezTo>
                    <a:cubicBezTo>
                      <a:pt x="1195459" y="418216"/>
                      <a:pt x="1192601" y="416072"/>
                      <a:pt x="1190457" y="413928"/>
                    </a:cubicBezTo>
                    <a:cubicBezTo>
                      <a:pt x="1186171" y="410355"/>
                      <a:pt x="1181884" y="406782"/>
                      <a:pt x="1177597" y="403208"/>
                    </a:cubicBezTo>
                    <a:cubicBezTo>
                      <a:pt x="1171881" y="399635"/>
                      <a:pt x="1166880" y="396062"/>
                      <a:pt x="1161879" y="393203"/>
                    </a:cubicBezTo>
                    <a:cubicBezTo>
                      <a:pt x="1161164" y="392489"/>
                      <a:pt x="1159735" y="392489"/>
                      <a:pt x="1159021" y="391774"/>
                    </a:cubicBezTo>
                    <a:cubicBezTo>
                      <a:pt x="1154734" y="388915"/>
                      <a:pt x="1149733" y="386771"/>
                      <a:pt x="1145446" y="384627"/>
                    </a:cubicBezTo>
                    <a:cubicBezTo>
                      <a:pt x="1144731" y="383913"/>
                      <a:pt x="1144731" y="383913"/>
                      <a:pt x="1144017" y="383913"/>
                    </a:cubicBezTo>
                    <a:cubicBezTo>
                      <a:pt x="1133300" y="378910"/>
                      <a:pt x="1121868" y="374622"/>
                      <a:pt x="1109723" y="371049"/>
                    </a:cubicBezTo>
                    <a:cubicBezTo>
                      <a:pt x="1080429" y="322453"/>
                      <a:pt x="1031131" y="289579"/>
                      <a:pt x="974688" y="281718"/>
                    </a:cubicBezTo>
                    <a:cubicBezTo>
                      <a:pt x="967544" y="238125"/>
                      <a:pt x="947538" y="198104"/>
                      <a:pt x="916102" y="166660"/>
                    </a:cubicBezTo>
                    <a:cubicBezTo>
                      <a:pt x="876806" y="128784"/>
                      <a:pt x="826079" y="107344"/>
                      <a:pt x="771779" y="107344"/>
                    </a:cubicBezTo>
                    <a:cubicBezTo>
                      <a:pt x="742486" y="107344"/>
                      <a:pt x="713908" y="113776"/>
                      <a:pt x="687472" y="125925"/>
                    </a:cubicBezTo>
                    <a:cubicBezTo>
                      <a:pt x="636031" y="65180"/>
                      <a:pt x="560297" y="30162"/>
                      <a:pt x="479562" y="30162"/>
                    </a:cubicBezTo>
                    <a:close/>
                    <a:moveTo>
                      <a:pt x="480479" y="0"/>
                    </a:moveTo>
                    <a:cubicBezTo>
                      <a:pt x="561868" y="0"/>
                      <a:pt x="639687" y="32067"/>
                      <a:pt x="696088" y="89788"/>
                    </a:cubicBezTo>
                    <a:cubicBezTo>
                      <a:pt x="721076" y="81237"/>
                      <a:pt x="746778" y="76961"/>
                      <a:pt x="772479" y="76961"/>
                    </a:cubicBezTo>
                    <a:cubicBezTo>
                      <a:pt x="835306" y="76961"/>
                      <a:pt x="893849" y="101189"/>
                      <a:pt x="938113" y="145371"/>
                    </a:cubicBezTo>
                    <a:cubicBezTo>
                      <a:pt x="969526" y="176012"/>
                      <a:pt x="990944" y="213780"/>
                      <a:pt x="1001653" y="255111"/>
                    </a:cubicBezTo>
                    <a:cubicBezTo>
                      <a:pt x="1054484" y="268650"/>
                      <a:pt x="1100176" y="300005"/>
                      <a:pt x="1130876" y="344898"/>
                    </a:cubicBezTo>
                    <a:cubicBezTo>
                      <a:pt x="1139443" y="347749"/>
                      <a:pt x="1148724" y="351312"/>
                      <a:pt x="1157291" y="355587"/>
                    </a:cubicBezTo>
                    <a:cubicBezTo>
                      <a:pt x="1158005" y="355587"/>
                      <a:pt x="1158719" y="355587"/>
                      <a:pt x="1159433" y="356300"/>
                    </a:cubicBezTo>
                    <a:cubicBezTo>
                      <a:pt x="1164431" y="358438"/>
                      <a:pt x="1169428" y="361288"/>
                      <a:pt x="1175140" y="364851"/>
                    </a:cubicBezTo>
                    <a:cubicBezTo>
                      <a:pt x="1176567" y="365564"/>
                      <a:pt x="1177281" y="365564"/>
                      <a:pt x="1177995" y="366276"/>
                    </a:cubicBezTo>
                    <a:cubicBezTo>
                      <a:pt x="1184421" y="369839"/>
                      <a:pt x="1190132" y="374115"/>
                      <a:pt x="1196558" y="378391"/>
                    </a:cubicBezTo>
                    <a:cubicBezTo>
                      <a:pt x="1201555" y="381954"/>
                      <a:pt x="1206553" y="386229"/>
                      <a:pt x="1211550" y="390505"/>
                    </a:cubicBezTo>
                    <a:cubicBezTo>
                      <a:pt x="1214406" y="392643"/>
                      <a:pt x="1217262" y="395493"/>
                      <a:pt x="1220118" y="398343"/>
                    </a:cubicBezTo>
                    <a:cubicBezTo>
                      <a:pt x="1227971" y="406182"/>
                      <a:pt x="1235824" y="414021"/>
                      <a:pt x="1242250" y="422572"/>
                    </a:cubicBezTo>
                    <a:cubicBezTo>
                      <a:pt x="1250103" y="431836"/>
                      <a:pt x="1256528" y="442525"/>
                      <a:pt x="1262954" y="453214"/>
                    </a:cubicBezTo>
                    <a:cubicBezTo>
                      <a:pt x="1273663" y="472454"/>
                      <a:pt x="1281516" y="493119"/>
                      <a:pt x="1286514" y="514497"/>
                    </a:cubicBezTo>
                    <a:cubicBezTo>
                      <a:pt x="1290083" y="531600"/>
                      <a:pt x="1292225" y="548702"/>
                      <a:pt x="1292225" y="566517"/>
                    </a:cubicBezTo>
                    <a:cubicBezTo>
                      <a:pt x="1292225" y="570080"/>
                      <a:pt x="1292225" y="574356"/>
                      <a:pt x="1292225" y="578631"/>
                    </a:cubicBezTo>
                    <a:cubicBezTo>
                      <a:pt x="1291511" y="590033"/>
                      <a:pt x="1290083" y="602147"/>
                      <a:pt x="1287228" y="613549"/>
                    </a:cubicBezTo>
                    <a:cubicBezTo>
                      <a:pt x="1286514" y="617112"/>
                      <a:pt x="1285800" y="621387"/>
                      <a:pt x="1285086" y="624950"/>
                    </a:cubicBezTo>
                    <a:cubicBezTo>
                      <a:pt x="1257956" y="727565"/>
                      <a:pt x="1163717" y="799537"/>
                      <a:pt x="1056626" y="799537"/>
                    </a:cubicBezTo>
                    <a:cubicBezTo>
                      <a:pt x="1056626" y="799537"/>
                      <a:pt x="1056626" y="799537"/>
                      <a:pt x="1046631" y="799537"/>
                    </a:cubicBezTo>
                    <a:cubicBezTo>
                      <a:pt x="1045203" y="800962"/>
                      <a:pt x="1043775" y="801675"/>
                      <a:pt x="1042347" y="803100"/>
                    </a:cubicBezTo>
                    <a:cubicBezTo>
                      <a:pt x="1040920" y="803813"/>
                      <a:pt x="1039492" y="804525"/>
                      <a:pt x="1038778" y="805238"/>
                    </a:cubicBezTo>
                    <a:cubicBezTo>
                      <a:pt x="1038778" y="805238"/>
                      <a:pt x="1038778" y="805238"/>
                      <a:pt x="1038064" y="805951"/>
                    </a:cubicBezTo>
                    <a:cubicBezTo>
                      <a:pt x="1036636" y="806663"/>
                      <a:pt x="1034494" y="807376"/>
                      <a:pt x="1033066" y="808801"/>
                    </a:cubicBezTo>
                    <a:cubicBezTo>
                      <a:pt x="1031638" y="809514"/>
                      <a:pt x="1030924" y="810226"/>
                      <a:pt x="1029497" y="810939"/>
                    </a:cubicBezTo>
                    <a:cubicBezTo>
                      <a:pt x="1029497" y="810939"/>
                      <a:pt x="1029497" y="810939"/>
                      <a:pt x="1028783" y="810939"/>
                    </a:cubicBezTo>
                    <a:cubicBezTo>
                      <a:pt x="1027355" y="811651"/>
                      <a:pt x="1025927" y="813077"/>
                      <a:pt x="1024499" y="813789"/>
                    </a:cubicBezTo>
                    <a:cubicBezTo>
                      <a:pt x="1023071" y="814502"/>
                      <a:pt x="1021643" y="815214"/>
                      <a:pt x="1020215" y="815927"/>
                    </a:cubicBezTo>
                    <a:cubicBezTo>
                      <a:pt x="1019501" y="815927"/>
                      <a:pt x="1019501" y="815927"/>
                      <a:pt x="1019501" y="815927"/>
                    </a:cubicBezTo>
                    <a:cubicBezTo>
                      <a:pt x="1018074" y="817352"/>
                      <a:pt x="1016646" y="818065"/>
                      <a:pt x="1014504" y="818777"/>
                    </a:cubicBezTo>
                    <a:cubicBezTo>
                      <a:pt x="1013076" y="819490"/>
                      <a:pt x="1011648" y="820203"/>
                      <a:pt x="1010220" y="820915"/>
                    </a:cubicBezTo>
                    <a:cubicBezTo>
                      <a:pt x="1008792" y="821628"/>
                      <a:pt x="1006651" y="822340"/>
                      <a:pt x="1005223" y="823053"/>
                    </a:cubicBezTo>
                    <a:cubicBezTo>
                      <a:pt x="1003795" y="823766"/>
                      <a:pt x="1002367" y="824478"/>
                      <a:pt x="1000225" y="825191"/>
                    </a:cubicBezTo>
                    <a:cubicBezTo>
                      <a:pt x="998797" y="825903"/>
                      <a:pt x="996656" y="826616"/>
                      <a:pt x="995228" y="827329"/>
                    </a:cubicBezTo>
                    <a:cubicBezTo>
                      <a:pt x="993800" y="828041"/>
                      <a:pt x="992372" y="828754"/>
                      <a:pt x="990230" y="828754"/>
                    </a:cubicBezTo>
                    <a:cubicBezTo>
                      <a:pt x="988802" y="829466"/>
                      <a:pt x="986660" y="830179"/>
                      <a:pt x="985233" y="830892"/>
                    </a:cubicBezTo>
                    <a:cubicBezTo>
                      <a:pt x="983091" y="831604"/>
                      <a:pt x="981663" y="831604"/>
                      <a:pt x="980235" y="832317"/>
                    </a:cubicBezTo>
                    <a:cubicBezTo>
                      <a:pt x="978807" y="833029"/>
                      <a:pt x="976665" y="833742"/>
                      <a:pt x="974523" y="833742"/>
                    </a:cubicBezTo>
                    <a:cubicBezTo>
                      <a:pt x="973096" y="834455"/>
                      <a:pt x="971668" y="834455"/>
                      <a:pt x="970240" y="835167"/>
                    </a:cubicBezTo>
                    <a:cubicBezTo>
                      <a:pt x="968098" y="835880"/>
                      <a:pt x="965956" y="835880"/>
                      <a:pt x="963814" y="836592"/>
                    </a:cubicBezTo>
                    <a:cubicBezTo>
                      <a:pt x="963814" y="836592"/>
                      <a:pt x="963814" y="836592"/>
                      <a:pt x="963101" y="836592"/>
                    </a:cubicBezTo>
                    <a:cubicBezTo>
                      <a:pt x="961673" y="837305"/>
                      <a:pt x="960245" y="837305"/>
                      <a:pt x="959531" y="837305"/>
                    </a:cubicBezTo>
                    <a:cubicBezTo>
                      <a:pt x="957389" y="838018"/>
                      <a:pt x="955247" y="838018"/>
                      <a:pt x="953819" y="838730"/>
                    </a:cubicBezTo>
                    <a:cubicBezTo>
                      <a:pt x="953819" y="838730"/>
                      <a:pt x="953819" y="838730"/>
                      <a:pt x="952391" y="838730"/>
                    </a:cubicBezTo>
                    <a:cubicBezTo>
                      <a:pt x="950964" y="838730"/>
                      <a:pt x="949536" y="839443"/>
                      <a:pt x="948108" y="839443"/>
                    </a:cubicBezTo>
                    <a:cubicBezTo>
                      <a:pt x="946680" y="839443"/>
                      <a:pt x="944538" y="840155"/>
                      <a:pt x="942396" y="840155"/>
                    </a:cubicBezTo>
                    <a:cubicBezTo>
                      <a:pt x="942396" y="840155"/>
                      <a:pt x="942396" y="840155"/>
                      <a:pt x="941682" y="840155"/>
                    </a:cubicBezTo>
                    <a:cubicBezTo>
                      <a:pt x="940255" y="840155"/>
                      <a:pt x="938827" y="840868"/>
                      <a:pt x="937399" y="840868"/>
                    </a:cubicBezTo>
                    <a:cubicBezTo>
                      <a:pt x="935257" y="840868"/>
                      <a:pt x="933115" y="840868"/>
                      <a:pt x="930973" y="841581"/>
                    </a:cubicBezTo>
                    <a:cubicBezTo>
                      <a:pt x="930973" y="841581"/>
                      <a:pt x="930973" y="841581"/>
                      <a:pt x="930259" y="841581"/>
                    </a:cubicBezTo>
                    <a:cubicBezTo>
                      <a:pt x="928832" y="841581"/>
                      <a:pt x="927404" y="841581"/>
                      <a:pt x="926690" y="841581"/>
                    </a:cubicBezTo>
                    <a:cubicBezTo>
                      <a:pt x="923120" y="841581"/>
                      <a:pt x="919550" y="841581"/>
                      <a:pt x="915981" y="841581"/>
                    </a:cubicBezTo>
                    <a:cubicBezTo>
                      <a:pt x="915267" y="841581"/>
                      <a:pt x="914553" y="841581"/>
                      <a:pt x="914553" y="841581"/>
                    </a:cubicBezTo>
                    <a:cubicBezTo>
                      <a:pt x="911697" y="841581"/>
                      <a:pt x="908127" y="841581"/>
                      <a:pt x="905272" y="841581"/>
                    </a:cubicBezTo>
                    <a:cubicBezTo>
                      <a:pt x="903844" y="841581"/>
                      <a:pt x="901702" y="841581"/>
                      <a:pt x="901702" y="841581"/>
                    </a:cubicBezTo>
                    <a:cubicBezTo>
                      <a:pt x="899560" y="841581"/>
                      <a:pt x="896704" y="840868"/>
                      <a:pt x="894563" y="840868"/>
                    </a:cubicBezTo>
                    <a:cubicBezTo>
                      <a:pt x="894563" y="840868"/>
                      <a:pt x="891707" y="840868"/>
                      <a:pt x="890993" y="840868"/>
                    </a:cubicBezTo>
                    <a:cubicBezTo>
                      <a:pt x="887423" y="840155"/>
                      <a:pt x="884567" y="840155"/>
                      <a:pt x="880998" y="839443"/>
                    </a:cubicBezTo>
                    <a:cubicBezTo>
                      <a:pt x="880284" y="839443"/>
                      <a:pt x="880284" y="839443"/>
                      <a:pt x="879570" y="838730"/>
                    </a:cubicBezTo>
                    <a:cubicBezTo>
                      <a:pt x="876714" y="838730"/>
                      <a:pt x="873858" y="838018"/>
                      <a:pt x="871717" y="837305"/>
                    </a:cubicBezTo>
                    <a:cubicBezTo>
                      <a:pt x="870289" y="837305"/>
                      <a:pt x="869575" y="837305"/>
                      <a:pt x="868861" y="837305"/>
                    </a:cubicBezTo>
                    <a:cubicBezTo>
                      <a:pt x="868861" y="837305"/>
                      <a:pt x="868861" y="837305"/>
                      <a:pt x="868147" y="836592"/>
                    </a:cubicBezTo>
                    <a:cubicBezTo>
                      <a:pt x="866005" y="836592"/>
                      <a:pt x="864577" y="835880"/>
                      <a:pt x="862435" y="835167"/>
                    </a:cubicBezTo>
                    <a:cubicBezTo>
                      <a:pt x="862435" y="835167"/>
                      <a:pt x="862435" y="835167"/>
                      <a:pt x="861722" y="835167"/>
                    </a:cubicBezTo>
                    <a:cubicBezTo>
                      <a:pt x="861008" y="835167"/>
                      <a:pt x="859580" y="834455"/>
                      <a:pt x="858866" y="834455"/>
                    </a:cubicBezTo>
                    <a:cubicBezTo>
                      <a:pt x="855296" y="833742"/>
                      <a:pt x="852440" y="833029"/>
                      <a:pt x="849585" y="832317"/>
                    </a:cubicBezTo>
                    <a:cubicBezTo>
                      <a:pt x="848871" y="831604"/>
                      <a:pt x="847443" y="831604"/>
                      <a:pt x="846729" y="830892"/>
                    </a:cubicBezTo>
                    <a:cubicBezTo>
                      <a:pt x="846729" y="830892"/>
                      <a:pt x="846729" y="830892"/>
                      <a:pt x="846015" y="830892"/>
                    </a:cubicBezTo>
                    <a:cubicBezTo>
                      <a:pt x="843873" y="830179"/>
                      <a:pt x="842445" y="829466"/>
                      <a:pt x="840303" y="828754"/>
                    </a:cubicBezTo>
                    <a:cubicBezTo>
                      <a:pt x="838876" y="828754"/>
                      <a:pt x="837448" y="828041"/>
                      <a:pt x="836020" y="827329"/>
                    </a:cubicBezTo>
                    <a:cubicBezTo>
                      <a:pt x="834592" y="826616"/>
                      <a:pt x="833878" y="826616"/>
                      <a:pt x="832450" y="825903"/>
                    </a:cubicBezTo>
                    <a:cubicBezTo>
                      <a:pt x="830308" y="827329"/>
                      <a:pt x="828167" y="828754"/>
                      <a:pt x="825311" y="830179"/>
                    </a:cubicBezTo>
                    <a:cubicBezTo>
                      <a:pt x="825311" y="830179"/>
                      <a:pt x="825311" y="830179"/>
                      <a:pt x="823169" y="831604"/>
                    </a:cubicBezTo>
                    <a:cubicBezTo>
                      <a:pt x="820313" y="833029"/>
                      <a:pt x="818171" y="834455"/>
                      <a:pt x="815316" y="835880"/>
                    </a:cubicBezTo>
                    <a:cubicBezTo>
                      <a:pt x="814602" y="835880"/>
                      <a:pt x="813174" y="837305"/>
                      <a:pt x="813174" y="837305"/>
                    </a:cubicBezTo>
                    <a:cubicBezTo>
                      <a:pt x="810318" y="838730"/>
                      <a:pt x="807462" y="839443"/>
                      <a:pt x="805321" y="840868"/>
                    </a:cubicBezTo>
                    <a:cubicBezTo>
                      <a:pt x="804607" y="840868"/>
                      <a:pt x="803179" y="841581"/>
                      <a:pt x="802465" y="842293"/>
                    </a:cubicBezTo>
                    <a:cubicBezTo>
                      <a:pt x="799609" y="843718"/>
                      <a:pt x="797467" y="844431"/>
                      <a:pt x="795325" y="845144"/>
                    </a:cubicBezTo>
                    <a:cubicBezTo>
                      <a:pt x="793898" y="845856"/>
                      <a:pt x="793184" y="845856"/>
                      <a:pt x="791756" y="846569"/>
                    </a:cubicBezTo>
                    <a:cubicBezTo>
                      <a:pt x="791756" y="846569"/>
                      <a:pt x="791756" y="846569"/>
                      <a:pt x="791042" y="846569"/>
                    </a:cubicBezTo>
                    <a:cubicBezTo>
                      <a:pt x="789614" y="847281"/>
                      <a:pt x="786758" y="848707"/>
                      <a:pt x="784616" y="849419"/>
                    </a:cubicBezTo>
                    <a:cubicBezTo>
                      <a:pt x="783189" y="850132"/>
                      <a:pt x="781761" y="850132"/>
                      <a:pt x="780333" y="850844"/>
                    </a:cubicBezTo>
                    <a:cubicBezTo>
                      <a:pt x="778191" y="851557"/>
                      <a:pt x="776049" y="852270"/>
                      <a:pt x="773193" y="852982"/>
                    </a:cubicBezTo>
                    <a:cubicBezTo>
                      <a:pt x="772479" y="852982"/>
                      <a:pt x="771052" y="853695"/>
                      <a:pt x="769624" y="854407"/>
                    </a:cubicBezTo>
                    <a:cubicBezTo>
                      <a:pt x="769624" y="854407"/>
                      <a:pt x="769624" y="854407"/>
                      <a:pt x="768196" y="854407"/>
                    </a:cubicBezTo>
                    <a:cubicBezTo>
                      <a:pt x="766054" y="855120"/>
                      <a:pt x="763912" y="855833"/>
                      <a:pt x="762484" y="855833"/>
                    </a:cubicBezTo>
                    <a:cubicBezTo>
                      <a:pt x="761056" y="856545"/>
                      <a:pt x="759629" y="856545"/>
                      <a:pt x="758201" y="857258"/>
                    </a:cubicBezTo>
                    <a:cubicBezTo>
                      <a:pt x="758201" y="857258"/>
                      <a:pt x="758201" y="857258"/>
                      <a:pt x="756059" y="857258"/>
                    </a:cubicBezTo>
                    <a:cubicBezTo>
                      <a:pt x="754631" y="857970"/>
                      <a:pt x="752489" y="857970"/>
                      <a:pt x="751061" y="858683"/>
                    </a:cubicBezTo>
                    <a:cubicBezTo>
                      <a:pt x="748920" y="858683"/>
                      <a:pt x="747492" y="859396"/>
                      <a:pt x="746064" y="859396"/>
                    </a:cubicBezTo>
                    <a:cubicBezTo>
                      <a:pt x="746064" y="859396"/>
                      <a:pt x="746064" y="859396"/>
                      <a:pt x="743922" y="860108"/>
                    </a:cubicBezTo>
                    <a:cubicBezTo>
                      <a:pt x="742494" y="860108"/>
                      <a:pt x="741066" y="860108"/>
                      <a:pt x="738924" y="860821"/>
                    </a:cubicBezTo>
                    <a:cubicBezTo>
                      <a:pt x="737497" y="860821"/>
                      <a:pt x="735355" y="860821"/>
                      <a:pt x="733927" y="861533"/>
                    </a:cubicBezTo>
                    <a:cubicBezTo>
                      <a:pt x="733927" y="861533"/>
                      <a:pt x="733927" y="861533"/>
                      <a:pt x="731785" y="861533"/>
                    </a:cubicBezTo>
                    <a:cubicBezTo>
                      <a:pt x="730357" y="861533"/>
                      <a:pt x="728929" y="862246"/>
                      <a:pt x="727501" y="862246"/>
                    </a:cubicBezTo>
                    <a:cubicBezTo>
                      <a:pt x="724646" y="862246"/>
                      <a:pt x="722504" y="862246"/>
                      <a:pt x="720362" y="862959"/>
                    </a:cubicBezTo>
                    <a:cubicBezTo>
                      <a:pt x="720362" y="862959"/>
                      <a:pt x="720362" y="862959"/>
                      <a:pt x="718934" y="862959"/>
                    </a:cubicBezTo>
                    <a:cubicBezTo>
                      <a:pt x="717506" y="862959"/>
                      <a:pt x="716078" y="862959"/>
                      <a:pt x="715365" y="862959"/>
                    </a:cubicBezTo>
                    <a:cubicBezTo>
                      <a:pt x="711081" y="862959"/>
                      <a:pt x="706797" y="863671"/>
                      <a:pt x="703228" y="863671"/>
                    </a:cubicBezTo>
                    <a:cubicBezTo>
                      <a:pt x="698944" y="863671"/>
                      <a:pt x="694660" y="862959"/>
                      <a:pt x="690377" y="862959"/>
                    </a:cubicBezTo>
                    <a:cubicBezTo>
                      <a:pt x="688949" y="862959"/>
                      <a:pt x="688235" y="862959"/>
                      <a:pt x="686807" y="862959"/>
                    </a:cubicBezTo>
                    <a:cubicBezTo>
                      <a:pt x="686807" y="862959"/>
                      <a:pt x="686807" y="862959"/>
                      <a:pt x="684665" y="862246"/>
                    </a:cubicBezTo>
                    <a:cubicBezTo>
                      <a:pt x="682523" y="862246"/>
                      <a:pt x="680382" y="862246"/>
                      <a:pt x="678240" y="862246"/>
                    </a:cubicBezTo>
                    <a:cubicBezTo>
                      <a:pt x="676812" y="862246"/>
                      <a:pt x="674670" y="861533"/>
                      <a:pt x="673242" y="861533"/>
                    </a:cubicBezTo>
                    <a:cubicBezTo>
                      <a:pt x="673242" y="861533"/>
                      <a:pt x="673242" y="861533"/>
                      <a:pt x="671100" y="861533"/>
                    </a:cubicBezTo>
                    <a:cubicBezTo>
                      <a:pt x="669673" y="860821"/>
                      <a:pt x="668245" y="860821"/>
                      <a:pt x="666103" y="860821"/>
                    </a:cubicBezTo>
                    <a:cubicBezTo>
                      <a:pt x="663961" y="860108"/>
                      <a:pt x="661819" y="860108"/>
                      <a:pt x="660391" y="859396"/>
                    </a:cubicBezTo>
                    <a:cubicBezTo>
                      <a:pt x="660391" y="859396"/>
                      <a:pt x="660391" y="859396"/>
                      <a:pt x="658250" y="859396"/>
                    </a:cubicBezTo>
                    <a:cubicBezTo>
                      <a:pt x="656822" y="858683"/>
                      <a:pt x="656108" y="858683"/>
                      <a:pt x="654680" y="858683"/>
                    </a:cubicBezTo>
                    <a:cubicBezTo>
                      <a:pt x="651824" y="857970"/>
                      <a:pt x="649682" y="857258"/>
                      <a:pt x="647541" y="856545"/>
                    </a:cubicBezTo>
                    <a:cubicBezTo>
                      <a:pt x="647541" y="856545"/>
                      <a:pt x="647541" y="856545"/>
                      <a:pt x="646113" y="856545"/>
                    </a:cubicBezTo>
                    <a:cubicBezTo>
                      <a:pt x="644685" y="856545"/>
                      <a:pt x="643971" y="855833"/>
                      <a:pt x="642543" y="855833"/>
                    </a:cubicBezTo>
                    <a:cubicBezTo>
                      <a:pt x="640401" y="855120"/>
                      <a:pt x="637545" y="854407"/>
                      <a:pt x="634690" y="853695"/>
                    </a:cubicBezTo>
                    <a:cubicBezTo>
                      <a:pt x="633262" y="852982"/>
                      <a:pt x="632548" y="852982"/>
                      <a:pt x="631834" y="852982"/>
                    </a:cubicBezTo>
                    <a:cubicBezTo>
                      <a:pt x="628264" y="851557"/>
                      <a:pt x="625409" y="850844"/>
                      <a:pt x="623267" y="850132"/>
                    </a:cubicBezTo>
                    <a:cubicBezTo>
                      <a:pt x="621839" y="849419"/>
                      <a:pt x="621125" y="849419"/>
                      <a:pt x="620411" y="848707"/>
                    </a:cubicBezTo>
                    <a:cubicBezTo>
                      <a:pt x="617555" y="847994"/>
                      <a:pt x="614700" y="846569"/>
                      <a:pt x="611130" y="845856"/>
                    </a:cubicBezTo>
                    <a:cubicBezTo>
                      <a:pt x="610416" y="845144"/>
                      <a:pt x="610416" y="845144"/>
                      <a:pt x="609702" y="844431"/>
                    </a:cubicBezTo>
                    <a:cubicBezTo>
                      <a:pt x="606846" y="843718"/>
                      <a:pt x="603990" y="842293"/>
                      <a:pt x="600421" y="840868"/>
                    </a:cubicBezTo>
                    <a:cubicBezTo>
                      <a:pt x="599707" y="840155"/>
                      <a:pt x="599707" y="840155"/>
                      <a:pt x="598993" y="840155"/>
                    </a:cubicBezTo>
                    <a:cubicBezTo>
                      <a:pt x="596137" y="838730"/>
                      <a:pt x="592567" y="837305"/>
                      <a:pt x="589712" y="835167"/>
                    </a:cubicBezTo>
                    <a:cubicBezTo>
                      <a:pt x="589712" y="835167"/>
                      <a:pt x="589712" y="835167"/>
                      <a:pt x="588998" y="835167"/>
                    </a:cubicBezTo>
                    <a:cubicBezTo>
                      <a:pt x="588998" y="835167"/>
                      <a:pt x="588998" y="835167"/>
                      <a:pt x="588284" y="834455"/>
                    </a:cubicBezTo>
                    <a:cubicBezTo>
                      <a:pt x="586142" y="833742"/>
                      <a:pt x="584000" y="832317"/>
                      <a:pt x="581858" y="830892"/>
                    </a:cubicBezTo>
                    <a:cubicBezTo>
                      <a:pt x="579003" y="833029"/>
                      <a:pt x="576861" y="835167"/>
                      <a:pt x="574005" y="836592"/>
                    </a:cubicBezTo>
                    <a:cubicBezTo>
                      <a:pt x="573291" y="837305"/>
                      <a:pt x="571149" y="838730"/>
                      <a:pt x="571149" y="838730"/>
                    </a:cubicBezTo>
                    <a:cubicBezTo>
                      <a:pt x="568294" y="840868"/>
                      <a:pt x="565438" y="843006"/>
                      <a:pt x="561868" y="845144"/>
                    </a:cubicBezTo>
                    <a:cubicBezTo>
                      <a:pt x="561154" y="845856"/>
                      <a:pt x="559726" y="846569"/>
                      <a:pt x="558299" y="847281"/>
                    </a:cubicBezTo>
                    <a:cubicBezTo>
                      <a:pt x="555443" y="849419"/>
                      <a:pt x="552587" y="850844"/>
                      <a:pt x="549731" y="852270"/>
                    </a:cubicBezTo>
                    <a:cubicBezTo>
                      <a:pt x="548303" y="852982"/>
                      <a:pt x="546876" y="854407"/>
                      <a:pt x="545448" y="855120"/>
                    </a:cubicBezTo>
                    <a:cubicBezTo>
                      <a:pt x="542592" y="856545"/>
                      <a:pt x="540450" y="857258"/>
                      <a:pt x="539022" y="858683"/>
                    </a:cubicBezTo>
                    <a:cubicBezTo>
                      <a:pt x="536167" y="860108"/>
                      <a:pt x="534025" y="860821"/>
                      <a:pt x="531883" y="862246"/>
                    </a:cubicBezTo>
                    <a:cubicBezTo>
                      <a:pt x="530455" y="862959"/>
                      <a:pt x="528313" y="863671"/>
                      <a:pt x="526885" y="864384"/>
                    </a:cubicBezTo>
                    <a:cubicBezTo>
                      <a:pt x="524030" y="865809"/>
                      <a:pt x="521174" y="867234"/>
                      <a:pt x="518318" y="868659"/>
                    </a:cubicBezTo>
                    <a:cubicBezTo>
                      <a:pt x="516890" y="869372"/>
                      <a:pt x="515462" y="869372"/>
                      <a:pt x="514034" y="870085"/>
                    </a:cubicBezTo>
                    <a:cubicBezTo>
                      <a:pt x="510465" y="871510"/>
                      <a:pt x="506895" y="872935"/>
                      <a:pt x="504039" y="874360"/>
                    </a:cubicBezTo>
                    <a:cubicBezTo>
                      <a:pt x="503325" y="874360"/>
                      <a:pt x="501898" y="875073"/>
                      <a:pt x="501184" y="875073"/>
                    </a:cubicBezTo>
                    <a:cubicBezTo>
                      <a:pt x="501184" y="875073"/>
                      <a:pt x="501184" y="875073"/>
                      <a:pt x="500470" y="875785"/>
                    </a:cubicBezTo>
                    <a:cubicBezTo>
                      <a:pt x="496900" y="876498"/>
                      <a:pt x="493330" y="877923"/>
                      <a:pt x="490475" y="878636"/>
                    </a:cubicBezTo>
                    <a:cubicBezTo>
                      <a:pt x="489047" y="879348"/>
                      <a:pt x="486905" y="880061"/>
                      <a:pt x="486905" y="880061"/>
                    </a:cubicBezTo>
                    <a:cubicBezTo>
                      <a:pt x="484049" y="880774"/>
                      <a:pt x="480479" y="882199"/>
                      <a:pt x="476910" y="882911"/>
                    </a:cubicBezTo>
                    <a:cubicBezTo>
                      <a:pt x="476196" y="882911"/>
                      <a:pt x="474768" y="883624"/>
                      <a:pt x="474768" y="883624"/>
                    </a:cubicBezTo>
                    <a:cubicBezTo>
                      <a:pt x="470484" y="884337"/>
                      <a:pt x="466915" y="885049"/>
                      <a:pt x="462631" y="886474"/>
                    </a:cubicBezTo>
                    <a:cubicBezTo>
                      <a:pt x="462631" y="886474"/>
                      <a:pt x="460489" y="886474"/>
                      <a:pt x="459775" y="886474"/>
                    </a:cubicBezTo>
                    <a:cubicBezTo>
                      <a:pt x="456206" y="887187"/>
                      <a:pt x="451922" y="887900"/>
                      <a:pt x="447638" y="888612"/>
                    </a:cubicBezTo>
                    <a:cubicBezTo>
                      <a:pt x="447638" y="888612"/>
                      <a:pt x="447638" y="888612"/>
                      <a:pt x="445497" y="889325"/>
                    </a:cubicBezTo>
                    <a:cubicBezTo>
                      <a:pt x="441213" y="890037"/>
                      <a:pt x="436929" y="890750"/>
                      <a:pt x="432646" y="890750"/>
                    </a:cubicBezTo>
                    <a:cubicBezTo>
                      <a:pt x="432646" y="890750"/>
                      <a:pt x="432646" y="890750"/>
                      <a:pt x="430504" y="890750"/>
                    </a:cubicBezTo>
                    <a:cubicBezTo>
                      <a:pt x="426220" y="891463"/>
                      <a:pt x="421937" y="892175"/>
                      <a:pt x="417653" y="892175"/>
                    </a:cubicBezTo>
                    <a:cubicBezTo>
                      <a:pt x="417653" y="892175"/>
                      <a:pt x="417653" y="892175"/>
                      <a:pt x="416939" y="892175"/>
                    </a:cubicBezTo>
                    <a:cubicBezTo>
                      <a:pt x="411228" y="892175"/>
                      <a:pt x="406944" y="892175"/>
                      <a:pt x="402660" y="892175"/>
                    </a:cubicBezTo>
                    <a:cubicBezTo>
                      <a:pt x="398377" y="892175"/>
                      <a:pt x="394093" y="892175"/>
                      <a:pt x="389096" y="892175"/>
                    </a:cubicBezTo>
                    <a:cubicBezTo>
                      <a:pt x="389096" y="892175"/>
                      <a:pt x="389096" y="892175"/>
                      <a:pt x="388382" y="892175"/>
                    </a:cubicBezTo>
                    <a:cubicBezTo>
                      <a:pt x="387668" y="892175"/>
                      <a:pt x="386954" y="892175"/>
                      <a:pt x="386240" y="892175"/>
                    </a:cubicBezTo>
                    <a:cubicBezTo>
                      <a:pt x="381956" y="891463"/>
                      <a:pt x="376959" y="891463"/>
                      <a:pt x="373389" y="890750"/>
                    </a:cubicBezTo>
                    <a:cubicBezTo>
                      <a:pt x="372675" y="890750"/>
                      <a:pt x="372675" y="890750"/>
                      <a:pt x="372675" y="890750"/>
                    </a:cubicBezTo>
                    <a:cubicBezTo>
                      <a:pt x="372675" y="890750"/>
                      <a:pt x="372675" y="890750"/>
                      <a:pt x="371247" y="890750"/>
                    </a:cubicBezTo>
                    <a:cubicBezTo>
                      <a:pt x="366964" y="890037"/>
                      <a:pt x="363394" y="890037"/>
                      <a:pt x="359110" y="889325"/>
                    </a:cubicBezTo>
                    <a:cubicBezTo>
                      <a:pt x="359110" y="889325"/>
                      <a:pt x="359110" y="889325"/>
                      <a:pt x="357682" y="889325"/>
                    </a:cubicBezTo>
                    <a:cubicBezTo>
                      <a:pt x="357682" y="889325"/>
                      <a:pt x="357682" y="889325"/>
                      <a:pt x="356968" y="889325"/>
                    </a:cubicBezTo>
                    <a:cubicBezTo>
                      <a:pt x="352685" y="888612"/>
                      <a:pt x="348401" y="887900"/>
                      <a:pt x="344118" y="886474"/>
                    </a:cubicBezTo>
                    <a:cubicBezTo>
                      <a:pt x="344118" y="886474"/>
                      <a:pt x="344118" y="886474"/>
                      <a:pt x="341976" y="886474"/>
                    </a:cubicBezTo>
                    <a:cubicBezTo>
                      <a:pt x="337692" y="885049"/>
                      <a:pt x="333409" y="884337"/>
                      <a:pt x="329839" y="883624"/>
                    </a:cubicBezTo>
                    <a:cubicBezTo>
                      <a:pt x="329839" y="883624"/>
                      <a:pt x="329125" y="883624"/>
                      <a:pt x="328411" y="882911"/>
                    </a:cubicBezTo>
                    <a:cubicBezTo>
                      <a:pt x="324841" y="882199"/>
                      <a:pt x="321272" y="880774"/>
                      <a:pt x="316274" y="880061"/>
                    </a:cubicBezTo>
                    <a:cubicBezTo>
                      <a:pt x="316274" y="880061"/>
                      <a:pt x="316274" y="880061"/>
                      <a:pt x="314132" y="878636"/>
                    </a:cubicBezTo>
                    <a:cubicBezTo>
                      <a:pt x="309849" y="877923"/>
                      <a:pt x="305565" y="876498"/>
                      <a:pt x="301995" y="875073"/>
                    </a:cubicBezTo>
                    <a:cubicBezTo>
                      <a:pt x="301995" y="875073"/>
                      <a:pt x="301995" y="875073"/>
                      <a:pt x="299854" y="874360"/>
                    </a:cubicBezTo>
                    <a:cubicBezTo>
                      <a:pt x="296284" y="872935"/>
                      <a:pt x="293428" y="871510"/>
                      <a:pt x="289858" y="870085"/>
                    </a:cubicBezTo>
                    <a:cubicBezTo>
                      <a:pt x="289858" y="870085"/>
                      <a:pt x="289858" y="870085"/>
                      <a:pt x="287717" y="869372"/>
                    </a:cubicBezTo>
                    <a:cubicBezTo>
                      <a:pt x="287717" y="869372"/>
                      <a:pt x="287717" y="869372"/>
                      <a:pt x="287003" y="869372"/>
                    </a:cubicBezTo>
                    <a:cubicBezTo>
                      <a:pt x="283433" y="867234"/>
                      <a:pt x="279863" y="865809"/>
                      <a:pt x="276294" y="864384"/>
                    </a:cubicBezTo>
                    <a:cubicBezTo>
                      <a:pt x="275580" y="863671"/>
                      <a:pt x="273438" y="862959"/>
                      <a:pt x="273438" y="862959"/>
                    </a:cubicBezTo>
                    <a:cubicBezTo>
                      <a:pt x="269868" y="860821"/>
                      <a:pt x="266299" y="859396"/>
                      <a:pt x="263443" y="857970"/>
                    </a:cubicBezTo>
                    <a:cubicBezTo>
                      <a:pt x="262729" y="857258"/>
                      <a:pt x="262729" y="857258"/>
                      <a:pt x="262015" y="856545"/>
                    </a:cubicBezTo>
                    <a:cubicBezTo>
                      <a:pt x="259159" y="855120"/>
                      <a:pt x="255589" y="852982"/>
                      <a:pt x="251306" y="850844"/>
                    </a:cubicBezTo>
                    <a:cubicBezTo>
                      <a:pt x="250592" y="850132"/>
                      <a:pt x="249878" y="849419"/>
                      <a:pt x="248450" y="849419"/>
                    </a:cubicBezTo>
                    <a:cubicBezTo>
                      <a:pt x="244880" y="846569"/>
                      <a:pt x="242025" y="845144"/>
                      <a:pt x="238455" y="843006"/>
                    </a:cubicBezTo>
                    <a:cubicBezTo>
                      <a:pt x="238455" y="842293"/>
                      <a:pt x="237027" y="841581"/>
                      <a:pt x="236313" y="840868"/>
                    </a:cubicBezTo>
                    <a:cubicBezTo>
                      <a:pt x="233457" y="839443"/>
                      <a:pt x="231316" y="837305"/>
                      <a:pt x="228460" y="835167"/>
                    </a:cubicBezTo>
                    <a:cubicBezTo>
                      <a:pt x="228460" y="835167"/>
                      <a:pt x="228460" y="835167"/>
                      <a:pt x="227746" y="835167"/>
                    </a:cubicBezTo>
                    <a:cubicBezTo>
                      <a:pt x="227032" y="834455"/>
                      <a:pt x="226318" y="833742"/>
                      <a:pt x="225604" y="833742"/>
                    </a:cubicBezTo>
                    <a:cubicBezTo>
                      <a:pt x="222748" y="830892"/>
                      <a:pt x="219893" y="828754"/>
                      <a:pt x="217037" y="826616"/>
                    </a:cubicBezTo>
                    <a:cubicBezTo>
                      <a:pt x="216323" y="825903"/>
                      <a:pt x="214181" y="823766"/>
                      <a:pt x="214181" y="823766"/>
                    </a:cubicBezTo>
                    <a:cubicBezTo>
                      <a:pt x="211325" y="821628"/>
                      <a:pt x="208470" y="819490"/>
                      <a:pt x="206328" y="817352"/>
                    </a:cubicBezTo>
                    <a:cubicBezTo>
                      <a:pt x="206328" y="817352"/>
                      <a:pt x="204900" y="815927"/>
                      <a:pt x="204186" y="815927"/>
                    </a:cubicBezTo>
                    <a:cubicBezTo>
                      <a:pt x="202044" y="813789"/>
                      <a:pt x="199189" y="810939"/>
                      <a:pt x="196333" y="808088"/>
                    </a:cubicBezTo>
                    <a:cubicBezTo>
                      <a:pt x="195619" y="807376"/>
                      <a:pt x="194191" y="805951"/>
                      <a:pt x="193477" y="805238"/>
                    </a:cubicBezTo>
                    <a:cubicBezTo>
                      <a:pt x="190621" y="802388"/>
                      <a:pt x="187766" y="799537"/>
                      <a:pt x="185624" y="797399"/>
                    </a:cubicBezTo>
                    <a:cubicBezTo>
                      <a:pt x="184910" y="796687"/>
                      <a:pt x="183482" y="795262"/>
                      <a:pt x="183482" y="794549"/>
                    </a:cubicBezTo>
                    <a:cubicBezTo>
                      <a:pt x="181340" y="792411"/>
                      <a:pt x="179198" y="790273"/>
                      <a:pt x="177056" y="787423"/>
                    </a:cubicBezTo>
                    <a:cubicBezTo>
                      <a:pt x="176343" y="785998"/>
                      <a:pt x="175629" y="785285"/>
                      <a:pt x="174915" y="784573"/>
                    </a:cubicBezTo>
                    <a:cubicBezTo>
                      <a:pt x="173487" y="783147"/>
                      <a:pt x="172773" y="781722"/>
                      <a:pt x="171345" y="780297"/>
                    </a:cubicBezTo>
                    <a:cubicBezTo>
                      <a:pt x="170631" y="779584"/>
                      <a:pt x="169917" y="779584"/>
                      <a:pt x="169203" y="779584"/>
                    </a:cubicBezTo>
                    <a:cubicBezTo>
                      <a:pt x="167775" y="778872"/>
                      <a:pt x="166347" y="778159"/>
                      <a:pt x="164920" y="777447"/>
                    </a:cubicBezTo>
                    <a:cubicBezTo>
                      <a:pt x="162064" y="776734"/>
                      <a:pt x="159922" y="775309"/>
                      <a:pt x="157780" y="774596"/>
                    </a:cubicBezTo>
                    <a:cubicBezTo>
                      <a:pt x="157780" y="774596"/>
                      <a:pt x="157780" y="774596"/>
                      <a:pt x="157066" y="773884"/>
                    </a:cubicBezTo>
                    <a:cubicBezTo>
                      <a:pt x="155638" y="773884"/>
                      <a:pt x="154924" y="773171"/>
                      <a:pt x="153497" y="772458"/>
                    </a:cubicBezTo>
                    <a:cubicBezTo>
                      <a:pt x="151355" y="771033"/>
                      <a:pt x="148499" y="769608"/>
                      <a:pt x="145643" y="768183"/>
                    </a:cubicBezTo>
                    <a:cubicBezTo>
                      <a:pt x="144215" y="767470"/>
                      <a:pt x="143501" y="767470"/>
                      <a:pt x="142788" y="766758"/>
                    </a:cubicBezTo>
                    <a:cubicBezTo>
                      <a:pt x="139218" y="765332"/>
                      <a:pt x="135648" y="763195"/>
                      <a:pt x="132078" y="761057"/>
                    </a:cubicBezTo>
                    <a:cubicBezTo>
                      <a:pt x="131365" y="760344"/>
                      <a:pt x="130651" y="760344"/>
                      <a:pt x="129937" y="759632"/>
                    </a:cubicBezTo>
                    <a:cubicBezTo>
                      <a:pt x="129937" y="759632"/>
                      <a:pt x="129937" y="759632"/>
                      <a:pt x="129223" y="758919"/>
                    </a:cubicBezTo>
                    <a:cubicBezTo>
                      <a:pt x="126367" y="757494"/>
                      <a:pt x="124225" y="756069"/>
                      <a:pt x="122083" y="754643"/>
                    </a:cubicBezTo>
                    <a:cubicBezTo>
                      <a:pt x="121369" y="753931"/>
                      <a:pt x="119942" y="753218"/>
                      <a:pt x="119228" y="752506"/>
                    </a:cubicBezTo>
                    <a:cubicBezTo>
                      <a:pt x="119228" y="752506"/>
                      <a:pt x="119228" y="752506"/>
                      <a:pt x="118514" y="751793"/>
                    </a:cubicBezTo>
                    <a:cubicBezTo>
                      <a:pt x="116372" y="750368"/>
                      <a:pt x="114230" y="748943"/>
                      <a:pt x="112088" y="747517"/>
                    </a:cubicBezTo>
                    <a:cubicBezTo>
                      <a:pt x="112088" y="747517"/>
                      <a:pt x="112088" y="747517"/>
                      <a:pt x="111374" y="747517"/>
                    </a:cubicBezTo>
                    <a:cubicBezTo>
                      <a:pt x="110660" y="746805"/>
                      <a:pt x="109233" y="745380"/>
                      <a:pt x="108519" y="744667"/>
                    </a:cubicBezTo>
                    <a:cubicBezTo>
                      <a:pt x="106377" y="743242"/>
                      <a:pt x="104235" y="741817"/>
                      <a:pt x="102093" y="739679"/>
                    </a:cubicBezTo>
                    <a:cubicBezTo>
                      <a:pt x="102093" y="739679"/>
                      <a:pt x="102093" y="739679"/>
                      <a:pt x="101379" y="739679"/>
                    </a:cubicBezTo>
                    <a:cubicBezTo>
                      <a:pt x="100665" y="738966"/>
                      <a:pt x="99951" y="738254"/>
                      <a:pt x="99237" y="737541"/>
                    </a:cubicBezTo>
                    <a:cubicBezTo>
                      <a:pt x="95668" y="734691"/>
                      <a:pt x="92812" y="732553"/>
                      <a:pt x="89956" y="729702"/>
                    </a:cubicBezTo>
                    <a:cubicBezTo>
                      <a:pt x="89242" y="728990"/>
                      <a:pt x="88528" y="728990"/>
                      <a:pt x="87814" y="728277"/>
                    </a:cubicBezTo>
                    <a:cubicBezTo>
                      <a:pt x="85673" y="725427"/>
                      <a:pt x="83531" y="724002"/>
                      <a:pt x="81389" y="721864"/>
                    </a:cubicBezTo>
                    <a:cubicBezTo>
                      <a:pt x="80675" y="721151"/>
                      <a:pt x="79961" y="719726"/>
                      <a:pt x="78533" y="719013"/>
                    </a:cubicBezTo>
                    <a:cubicBezTo>
                      <a:pt x="78533" y="719013"/>
                      <a:pt x="78533" y="719013"/>
                      <a:pt x="78533" y="718301"/>
                    </a:cubicBezTo>
                    <a:cubicBezTo>
                      <a:pt x="76391" y="716876"/>
                      <a:pt x="74250" y="714738"/>
                      <a:pt x="72822" y="713313"/>
                    </a:cubicBezTo>
                    <a:cubicBezTo>
                      <a:pt x="72108" y="711887"/>
                      <a:pt x="70680" y="710462"/>
                      <a:pt x="69966" y="709750"/>
                    </a:cubicBezTo>
                    <a:cubicBezTo>
                      <a:pt x="67824" y="707612"/>
                      <a:pt x="66396" y="706187"/>
                      <a:pt x="64255" y="703336"/>
                    </a:cubicBezTo>
                    <a:cubicBezTo>
                      <a:pt x="63541" y="701911"/>
                      <a:pt x="62827" y="701198"/>
                      <a:pt x="62113" y="700486"/>
                    </a:cubicBezTo>
                    <a:cubicBezTo>
                      <a:pt x="59257" y="697635"/>
                      <a:pt x="57115" y="694785"/>
                      <a:pt x="54973" y="691935"/>
                    </a:cubicBezTo>
                    <a:cubicBezTo>
                      <a:pt x="54973" y="691935"/>
                      <a:pt x="54973" y="691935"/>
                      <a:pt x="54259" y="691222"/>
                    </a:cubicBezTo>
                    <a:cubicBezTo>
                      <a:pt x="52118" y="688372"/>
                      <a:pt x="49976" y="684809"/>
                      <a:pt x="47834" y="681246"/>
                    </a:cubicBezTo>
                    <a:cubicBezTo>
                      <a:pt x="47120" y="680533"/>
                      <a:pt x="46406" y="679820"/>
                      <a:pt x="45692" y="679108"/>
                    </a:cubicBezTo>
                    <a:cubicBezTo>
                      <a:pt x="45692" y="679108"/>
                      <a:pt x="45692" y="679108"/>
                      <a:pt x="44978" y="678395"/>
                    </a:cubicBezTo>
                    <a:cubicBezTo>
                      <a:pt x="43550" y="675545"/>
                      <a:pt x="42122" y="673407"/>
                      <a:pt x="40695" y="671269"/>
                    </a:cubicBezTo>
                    <a:cubicBezTo>
                      <a:pt x="39981" y="669844"/>
                      <a:pt x="39267" y="668419"/>
                      <a:pt x="38553" y="667706"/>
                    </a:cubicBezTo>
                    <a:cubicBezTo>
                      <a:pt x="37125" y="665568"/>
                      <a:pt x="35697" y="662718"/>
                      <a:pt x="34269" y="660580"/>
                    </a:cubicBezTo>
                    <a:cubicBezTo>
                      <a:pt x="34269" y="660580"/>
                      <a:pt x="34269" y="660580"/>
                      <a:pt x="34269" y="659868"/>
                    </a:cubicBezTo>
                    <a:cubicBezTo>
                      <a:pt x="33555" y="659155"/>
                      <a:pt x="32841" y="657730"/>
                      <a:pt x="32127" y="657017"/>
                    </a:cubicBezTo>
                    <a:cubicBezTo>
                      <a:pt x="30700" y="654167"/>
                      <a:pt x="29986" y="651316"/>
                      <a:pt x="27844" y="648466"/>
                    </a:cubicBezTo>
                    <a:cubicBezTo>
                      <a:pt x="27844" y="647753"/>
                      <a:pt x="27130" y="647041"/>
                      <a:pt x="27130" y="646328"/>
                    </a:cubicBezTo>
                    <a:cubicBezTo>
                      <a:pt x="24988" y="642765"/>
                      <a:pt x="23560" y="639202"/>
                      <a:pt x="22132" y="634927"/>
                    </a:cubicBezTo>
                    <a:cubicBezTo>
                      <a:pt x="21418" y="634214"/>
                      <a:pt x="21418" y="633501"/>
                      <a:pt x="20704" y="632789"/>
                    </a:cubicBezTo>
                    <a:cubicBezTo>
                      <a:pt x="20704" y="632789"/>
                      <a:pt x="20704" y="632789"/>
                      <a:pt x="20704" y="632076"/>
                    </a:cubicBezTo>
                    <a:cubicBezTo>
                      <a:pt x="19277" y="629226"/>
                      <a:pt x="18563" y="626375"/>
                      <a:pt x="17135" y="623525"/>
                    </a:cubicBezTo>
                    <a:cubicBezTo>
                      <a:pt x="17135" y="622812"/>
                      <a:pt x="16421" y="621387"/>
                      <a:pt x="15707" y="620675"/>
                    </a:cubicBezTo>
                    <a:cubicBezTo>
                      <a:pt x="15707" y="620675"/>
                      <a:pt x="15707" y="620675"/>
                      <a:pt x="15707" y="619962"/>
                    </a:cubicBezTo>
                    <a:cubicBezTo>
                      <a:pt x="14993" y="617112"/>
                      <a:pt x="14279" y="614261"/>
                      <a:pt x="12851" y="612123"/>
                    </a:cubicBezTo>
                    <a:cubicBezTo>
                      <a:pt x="12851" y="612123"/>
                      <a:pt x="12137" y="609273"/>
                      <a:pt x="12137" y="607848"/>
                    </a:cubicBezTo>
                    <a:cubicBezTo>
                      <a:pt x="10709" y="604997"/>
                      <a:pt x="9995" y="602147"/>
                      <a:pt x="9281" y="599297"/>
                    </a:cubicBezTo>
                    <a:cubicBezTo>
                      <a:pt x="9281" y="599297"/>
                      <a:pt x="9281" y="599297"/>
                      <a:pt x="9281" y="598584"/>
                    </a:cubicBezTo>
                    <a:cubicBezTo>
                      <a:pt x="9281" y="597871"/>
                      <a:pt x="8567" y="596446"/>
                      <a:pt x="8567" y="595734"/>
                    </a:cubicBezTo>
                    <a:cubicBezTo>
                      <a:pt x="7140" y="591458"/>
                      <a:pt x="6426" y="587895"/>
                      <a:pt x="5712" y="583619"/>
                    </a:cubicBezTo>
                    <a:cubicBezTo>
                      <a:pt x="5712" y="582907"/>
                      <a:pt x="4998" y="581482"/>
                      <a:pt x="4998" y="580769"/>
                    </a:cubicBezTo>
                    <a:cubicBezTo>
                      <a:pt x="4284" y="577919"/>
                      <a:pt x="3570" y="574356"/>
                      <a:pt x="3570" y="571505"/>
                    </a:cubicBezTo>
                    <a:cubicBezTo>
                      <a:pt x="3570" y="570793"/>
                      <a:pt x="2856" y="569367"/>
                      <a:pt x="2856" y="568655"/>
                    </a:cubicBezTo>
                    <a:cubicBezTo>
                      <a:pt x="2856" y="568655"/>
                      <a:pt x="2856" y="568655"/>
                      <a:pt x="2856" y="567942"/>
                    </a:cubicBezTo>
                    <a:cubicBezTo>
                      <a:pt x="2856" y="567942"/>
                      <a:pt x="2856" y="567942"/>
                      <a:pt x="2856" y="567230"/>
                    </a:cubicBezTo>
                    <a:cubicBezTo>
                      <a:pt x="2142" y="564379"/>
                      <a:pt x="2142" y="561529"/>
                      <a:pt x="1428" y="558678"/>
                    </a:cubicBezTo>
                    <a:cubicBezTo>
                      <a:pt x="1428" y="557253"/>
                      <a:pt x="1428" y="555828"/>
                      <a:pt x="1428" y="554403"/>
                    </a:cubicBezTo>
                    <a:cubicBezTo>
                      <a:pt x="714" y="551552"/>
                      <a:pt x="714" y="548702"/>
                      <a:pt x="714" y="545852"/>
                    </a:cubicBezTo>
                    <a:cubicBezTo>
                      <a:pt x="714" y="545852"/>
                      <a:pt x="714" y="545852"/>
                      <a:pt x="714" y="545139"/>
                    </a:cubicBezTo>
                    <a:cubicBezTo>
                      <a:pt x="714" y="543714"/>
                      <a:pt x="0" y="543001"/>
                      <a:pt x="0" y="541576"/>
                    </a:cubicBezTo>
                    <a:cubicBezTo>
                      <a:pt x="0" y="536588"/>
                      <a:pt x="0" y="533025"/>
                      <a:pt x="0" y="528749"/>
                    </a:cubicBezTo>
                    <a:cubicBezTo>
                      <a:pt x="0" y="463190"/>
                      <a:pt x="24274" y="399769"/>
                      <a:pt x="67110" y="350599"/>
                    </a:cubicBezTo>
                    <a:cubicBezTo>
                      <a:pt x="97810" y="315682"/>
                      <a:pt x="136362" y="290028"/>
                      <a:pt x="179912" y="274351"/>
                    </a:cubicBezTo>
                    <a:cubicBezTo>
                      <a:pt x="192763" y="121142"/>
                      <a:pt x="322700" y="0"/>
                      <a:pt x="480479" y="0"/>
                    </a:cubicBezTo>
                    <a:close/>
                  </a:path>
                </a:pathLst>
              </a:custGeom>
              <a:solidFill>
                <a:srgbClr val="2D716B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1800" b="0" i="0" u="none" strike="noStrike" kern="1200" cap="none" spc="0" normalizeH="0" baseline="0" noProof="0">
                  <a:ln>
                    <a:noFill/>
                  </a:ln>
                  <a:solidFill>
                    <a:srgbClr val="575757"/>
                  </a:solidFill>
                  <a:effectLst/>
                  <a:uLnTx/>
                  <a:uFillTx/>
                  <a:latin typeface="+mj-lt"/>
                </a:endParaRPr>
              </a:p>
            </p:txBody>
          </p:sp>
          <p:sp>
            <p:nvSpPr>
              <p:cNvPr id="126" name="Freeform 6">
                <a:extLst>
                  <a:ext uri="{FF2B5EF4-FFF2-40B4-BE49-F238E27FC236}">
                    <a16:creationId xmlns:a16="http://schemas.microsoft.com/office/drawing/2014/main" id="{6871FDDD-314D-8850-168C-6821C9B3C9B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11800" y="3044825"/>
                <a:ext cx="1166813" cy="766763"/>
              </a:xfrm>
              <a:custGeom>
                <a:avLst/>
                <a:gdLst>
                  <a:gd name="connsiteX0" fmla="*/ 822458 w 1166813"/>
                  <a:gd name="connsiteY0" fmla="*/ 412750 h 766763"/>
                  <a:gd name="connsiteX1" fmla="*/ 796661 w 1166813"/>
                  <a:gd name="connsiteY1" fmla="*/ 419822 h 766763"/>
                  <a:gd name="connsiteX2" fmla="*/ 779463 w 1166813"/>
                  <a:gd name="connsiteY2" fmla="*/ 438208 h 766763"/>
                  <a:gd name="connsiteX3" fmla="*/ 798094 w 1166813"/>
                  <a:gd name="connsiteY3" fmla="*/ 452351 h 766763"/>
                  <a:gd name="connsiteX4" fmla="*/ 823891 w 1166813"/>
                  <a:gd name="connsiteY4" fmla="*/ 435379 h 766763"/>
                  <a:gd name="connsiteX5" fmla="*/ 844672 w 1166813"/>
                  <a:gd name="connsiteY5" fmla="*/ 453058 h 766763"/>
                  <a:gd name="connsiteX6" fmla="*/ 830341 w 1166813"/>
                  <a:gd name="connsiteY6" fmla="*/ 489123 h 766763"/>
                  <a:gd name="connsiteX7" fmla="*/ 780896 w 1166813"/>
                  <a:gd name="connsiteY7" fmla="*/ 560546 h 766763"/>
                  <a:gd name="connsiteX8" fmla="*/ 780896 w 1166813"/>
                  <a:gd name="connsiteY8" fmla="*/ 568325 h 766763"/>
                  <a:gd name="connsiteX9" fmla="*/ 882651 w 1166813"/>
                  <a:gd name="connsiteY9" fmla="*/ 568325 h 766763"/>
                  <a:gd name="connsiteX10" fmla="*/ 882651 w 1166813"/>
                  <a:gd name="connsiteY10" fmla="*/ 544282 h 766763"/>
                  <a:gd name="connsiteX11" fmla="*/ 824608 w 1166813"/>
                  <a:gd name="connsiteY11" fmla="*/ 544282 h 766763"/>
                  <a:gd name="connsiteX12" fmla="*/ 856138 w 1166813"/>
                  <a:gd name="connsiteY12" fmla="*/ 496195 h 766763"/>
                  <a:gd name="connsiteX13" fmla="*/ 873336 w 1166813"/>
                  <a:gd name="connsiteY13" fmla="*/ 453058 h 766763"/>
                  <a:gd name="connsiteX14" fmla="*/ 860437 w 1166813"/>
                  <a:gd name="connsiteY14" fmla="*/ 423358 h 766763"/>
                  <a:gd name="connsiteX15" fmla="*/ 822458 w 1166813"/>
                  <a:gd name="connsiteY15" fmla="*/ 412750 h 766763"/>
                  <a:gd name="connsiteX16" fmla="*/ 631630 w 1166813"/>
                  <a:gd name="connsiteY16" fmla="*/ 295275 h 766763"/>
                  <a:gd name="connsiteX17" fmla="*/ 700088 w 1166813"/>
                  <a:gd name="connsiteY17" fmla="*/ 388741 h 766763"/>
                  <a:gd name="connsiteX18" fmla="*/ 681548 w 1166813"/>
                  <a:gd name="connsiteY18" fmla="*/ 460803 h 766763"/>
                  <a:gd name="connsiteX19" fmla="*/ 628065 w 1166813"/>
                  <a:gd name="connsiteY19" fmla="*/ 485775 h 766763"/>
                  <a:gd name="connsiteX20" fmla="*/ 582426 w 1166813"/>
                  <a:gd name="connsiteY20" fmla="*/ 460803 h 766763"/>
                  <a:gd name="connsiteX21" fmla="*/ 566738 w 1166813"/>
                  <a:gd name="connsiteY21" fmla="*/ 388741 h 766763"/>
                  <a:gd name="connsiteX22" fmla="*/ 583140 w 1166813"/>
                  <a:gd name="connsiteY22" fmla="*/ 320247 h 766763"/>
                  <a:gd name="connsiteX23" fmla="*/ 631630 w 1166813"/>
                  <a:gd name="connsiteY23" fmla="*/ 295275 h 766763"/>
                  <a:gd name="connsiteX24" fmla="*/ 631630 w 1166813"/>
                  <a:gd name="connsiteY24" fmla="*/ 252413 h 766763"/>
                  <a:gd name="connsiteX25" fmla="*/ 548191 w 1166813"/>
                  <a:gd name="connsiteY25" fmla="*/ 291647 h 766763"/>
                  <a:gd name="connsiteX26" fmla="*/ 517525 w 1166813"/>
                  <a:gd name="connsiteY26" fmla="*/ 387949 h 766763"/>
                  <a:gd name="connsiteX27" fmla="*/ 546051 w 1166813"/>
                  <a:gd name="connsiteY27" fmla="*/ 489957 h 766763"/>
                  <a:gd name="connsiteX28" fmla="*/ 628064 w 1166813"/>
                  <a:gd name="connsiteY28" fmla="*/ 527051 h 766763"/>
                  <a:gd name="connsiteX29" fmla="*/ 717921 w 1166813"/>
                  <a:gd name="connsiteY29" fmla="*/ 489244 h 766763"/>
                  <a:gd name="connsiteX30" fmla="*/ 749300 w 1166813"/>
                  <a:gd name="connsiteY30" fmla="*/ 387949 h 766763"/>
                  <a:gd name="connsiteX31" fmla="*/ 718635 w 1166813"/>
                  <a:gd name="connsiteY31" fmla="*/ 288080 h 766763"/>
                  <a:gd name="connsiteX32" fmla="*/ 631630 w 1166813"/>
                  <a:gd name="connsiteY32" fmla="*/ 252413 h 766763"/>
                  <a:gd name="connsiteX33" fmla="*/ 412336 w 1166813"/>
                  <a:gd name="connsiteY33" fmla="*/ 252413 h 766763"/>
                  <a:gd name="connsiteX34" fmla="*/ 324709 w 1166813"/>
                  <a:gd name="connsiteY34" fmla="*/ 292360 h 766763"/>
                  <a:gd name="connsiteX35" fmla="*/ 290513 w 1166813"/>
                  <a:gd name="connsiteY35" fmla="*/ 390802 h 766763"/>
                  <a:gd name="connsiteX36" fmla="*/ 321859 w 1166813"/>
                  <a:gd name="connsiteY36" fmla="*/ 490671 h 766763"/>
                  <a:gd name="connsiteX37" fmla="*/ 408061 w 1166813"/>
                  <a:gd name="connsiteY37" fmla="*/ 527051 h 766763"/>
                  <a:gd name="connsiteX38" fmla="*/ 492126 w 1166813"/>
                  <a:gd name="connsiteY38" fmla="*/ 496377 h 766763"/>
                  <a:gd name="connsiteX39" fmla="*/ 470041 w 1166813"/>
                  <a:gd name="connsiteY39" fmla="*/ 458570 h 766763"/>
                  <a:gd name="connsiteX40" fmla="*/ 411624 w 1166813"/>
                  <a:gd name="connsiteY40" fmla="*/ 484964 h 766763"/>
                  <a:gd name="connsiteX41" fmla="*/ 359617 w 1166813"/>
                  <a:gd name="connsiteY41" fmla="*/ 459997 h 766763"/>
                  <a:gd name="connsiteX42" fmla="*/ 339670 w 1166813"/>
                  <a:gd name="connsiteY42" fmla="*/ 392942 h 766763"/>
                  <a:gd name="connsiteX43" fmla="*/ 361042 w 1166813"/>
                  <a:gd name="connsiteY43" fmla="*/ 322321 h 766763"/>
                  <a:gd name="connsiteX44" fmla="*/ 415186 w 1166813"/>
                  <a:gd name="connsiteY44" fmla="*/ 294501 h 766763"/>
                  <a:gd name="connsiteX45" fmla="*/ 465767 w 1166813"/>
                  <a:gd name="connsiteY45" fmla="*/ 310194 h 766763"/>
                  <a:gd name="connsiteX46" fmla="*/ 485002 w 1166813"/>
                  <a:gd name="connsiteY46" fmla="*/ 271673 h 766763"/>
                  <a:gd name="connsiteX47" fmla="*/ 412336 w 1166813"/>
                  <a:gd name="connsiteY47" fmla="*/ 252413 h 766763"/>
                  <a:gd name="connsiteX48" fmla="*/ 417739 w 1166813"/>
                  <a:gd name="connsiteY48" fmla="*/ 0 h 766763"/>
                  <a:gd name="connsiteX49" fmla="*/ 616255 w 1166813"/>
                  <a:gd name="connsiteY49" fmla="*/ 104040 h 766763"/>
                  <a:gd name="connsiteX50" fmla="*/ 709800 w 1166813"/>
                  <a:gd name="connsiteY50" fmla="*/ 76961 h 766763"/>
                  <a:gd name="connsiteX51" fmla="*/ 884036 w 1166813"/>
                  <a:gd name="connsiteY51" fmla="*/ 248699 h 766763"/>
                  <a:gd name="connsiteX52" fmla="*/ 885464 w 1166813"/>
                  <a:gd name="connsiteY52" fmla="*/ 248699 h 766763"/>
                  <a:gd name="connsiteX53" fmla="*/ 891177 w 1166813"/>
                  <a:gd name="connsiteY53" fmla="*/ 248699 h 766763"/>
                  <a:gd name="connsiteX54" fmla="*/ 1026853 w 1166813"/>
                  <a:gd name="connsiteY54" fmla="*/ 336350 h 766763"/>
                  <a:gd name="connsiteX55" fmla="*/ 1068984 w 1166813"/>
                  <a:gd name="connsiteY55" fmla="*/ 349889 h 766763"/>
                  <a:gd name="connsiteX56" fmla="*/ 1069698 w 1166813"/>
                  <a:gd name="connsiteY56" fmla="*/ 349889 h 766763"/>
                  <a:gd name="connsiteX57" fmla="*/ 1081123 w 1166813"/>
                  <a:gd name="connsiteY57" fmla="*/ 356303 h 766763"/>
                  <a:gd name="connsiteX58" fmla="*/ 1083265 w 1166813"/>
                  <a:gd name="connsiteY58" fmla="*/ 357728 h 766763"/>
                  <a:gd name="connsiteX59" fmla="*/ 1096833 w 1166813"/>
                  <a:gd name="connsiteY59" fmla="*/ 366279 h 766763"/>
                  <a:gd name="connsiteX60" fmla="*/ 1107544 w 1166813"/>
                  <a:gd name="connsiteY60" fmla="*/ 374830 h 766763"/>
                  <a:gd name="connsiteX61" fmla="*/ 1113971 w 1166813"/>
                  <a:gd name="connsiteY61" fmla="*/ 381244 h 766763"/>
                  <a:gd name="connsiteX62" fmla="*/ 1130395 w 1166813"/>
                  <a:gd name="connsiteY62" fmla="*/ 398346 h 766763"/>
                  <a:gd name="connsiteX63" fmla="*/ 1145391 w 1166813"/>
                  <a:gd name="connsiteY63" fmla="*/ 421150 h 766763"/>
                  <a:gd name="connsiteX64" fmla="*/ 1162529 w 1166813"/>
                  <a:gd name="connsiteY64" fmla="*/ 466044 h 766763"/>
                  <a:gd name="connsiteX65" fmla="*/ 1166813 w 1166813"/>
                  <a:gd name="connsiteY65" fmla="*/ 503812 h 766763"/>
                  <a:gd name="connsiteX66" fmla="*/ 1166813 w 1166813"/>
                  <a:gd name="connsiteY66" fmla="*/ 512363 h 766763"/>
                  <a:gd name="connsiteX67" fmla="*/ 1163243 w 1166813"/>
                  <a:gd name="connsiteY67" fmla="*/ 538017 h 766763"/>
                  <a:gd name="connsiteX68" fmla="*/ 1161101 w 1166813"/>
                  <a:gd name="connsiteY68" fmla="*/ 546568 h 766763"/>
                  <a:gd name="connsiteX69" fmla="*/ 994005 w 1166813"/>
                  <a:gd name="connsiteY69" fmla="*/ 674125 h 766763"/>
                  <a:gd name="connsiteX70" fmla="*/ 961871 w 1166813"/>
                  <a:gd name="connsiteY70" fmla="*/ 674125 h 766763"/>
                  <a:gd name="connsiteX71" fmla="*/ 961157 w 1166813"/>
                  <a:gd name="connsiteY71" fmla="*/ 674837 h 766763"/>
                  <a:gd name="connsiteX72" fmla="*/ 956158 w 1166813"/>
                  <a:gd name="connsiteY72" fmla="*/ 679113 h 766763"/>
                  <a:gd name="connsiteX73" fmla="*/ 954016 w 1166813"/>
                  <a:gd name="connsiteY73" fmla="*/ 681251 h 766763"/>
                  <a:gd name="connsiteX74" fmla="*/ 950446 w 1166813"/>
                  <a:gd name="connsiteY74" fmla="*/ 684101 h 766763"/>
                  <a:gd name="connsiteX75" fmla="*/ 947589 w 1166813"/>
                  <a:gd name="connsiteY75" fmla="*/ 685526 h 766763"/>
                  <a:gd name="connsiteX76" fmla="*/ 944019 w 1166813"/>
                  <a:gd name="connsiteY76" fmla="*/ 688377 h 766763"/>
                  <a:gd name="connsiteX77" fmla="*/ 941163 w 1166813"/>
                  <a:gd name="connsiteY77" fmla="*/ 690514 h 766763"/>
                  <a:gd name="connsiteX78" fmla="*/ 937592 w 1166813"/>
                  <a:gd name="connsiteY78" fmla="*/ 692652 h 766763"/>
                  <a:gd name="connsiteX79" fmla="*/ 934736 w 1166813"/>
                  <a:gd name="connsiteY79" fmla="*/ 694077 h 766763"/>
                  <a:gd name="connsiteX80" fmla="*/ 931166 w 1166813"/>
                  <a:gd name="connsiteY80" fmla="*/ 696215 h 766763"/>
                  <a:gd name="connsiteX81" fmla="*/ 928309 w 1166813"/>
                  <a:gd name="connsiteY81" fmla="*/ 697640 h 766763"/>
                  <a:gd name="connsiteX82" fmla="*/ 924025 w 1166813"/>
                  <a:gd name="connsiteY82" fmla="*/ 699778 h 766763"/>
                  <a:gd name="connsiteX83" fmla="*/ 921168 w 1166813"/>
                  <a:gd name="connsiteY83" fmla="*/ 701203 h 766763"/>
                  <a:gd name="connsiteX84" fmla="*/ 917598 w 1166813"/>
                  <a:gd name="connsiteY84" fmla="*/ 703341 h 766763"/>
                  <a:gd name="connsiteX85" fmla="*/ 914028 w 1166813"/>
                  <a:gd name="connsiteY85" fmla="*/ 704767 h 766763"/>
                  <a:gd name="connsiteX86" fmla="*/ 910457 w 1166813"/>
                  <a:gd name="connsiteY86" fmla="*/ 706192 h 766763"/>
                  <a:gd name="connsiteX87" fmla="*/ 906887 w 1166813"/>
                  <a:gd name="connsiteY87" fmla="*/ 706904 h 766763"/>
                  <a:gd name="connsiteX88" fmla="*/ 902602 w 1166813"/>
                  <a:gd name="connsiteY88" fmla="*/ 708330 h 766763"/>
                  <a:gd name="connsiteX89" fmla="*/ 899746 w 1166813"/>
                  <a:gd name="connsiteY89" fmla="*/ 709755 h 766763"/>
                  <a:gd name="connsiteX90" fmla="*/ 896175 w 1166813"/>
                  <a:gd name="connsiteY90" fmla="*/ 710467 h 766763"/>
                  <a:gd name="connsiteX91" fmla="*/ 892605 w 1166813"/>
                  <a:gd name="connsiteY91" fmla="*/ 711893 h 766763"/>
                  <a:gd name="connsiteX92" fmla="*/ 888321 w 1166813"/>
                  <a:gd name="connsiteY92" fmla="*/ 712605 h 766763"/>
                  <a:gd name="connsiteX93" fmla="*/ 885464 w 1166813"/>
                  <a:gd name="connsiteY93" fmla="*/ 713318 h 766763"/>
                  <a:gd name="connsiteX94" fmla="*/ 880466 w 1166813"/>
                  <a:gd name="connsiteY94" fmla="*/ 714030 h 766763"/>
                  <a:gd name="connsiteX95" fmla="*/ 877609 w 1166813"/>
                  <a:gd name="connsiteY95" fmla="*/ 714743 h 766763"/>
                  <a:gd name="connsiteX96" fmla="*/ 872611 w 1166813"/>
                  <a:gd name="connsiteY96" fmla="*/ 715456 h 766763"/>
                  <a:gd name="connsiteX97" fmla="*/ 869754 w 1166813"/>
                  <a:gd name="connsiteY97" fmla="*/ 715456 h 766763"/>
                  <a:gd name="connsiteX98" fmla="*/ 864042 w 1166813"/>
                  <a:gd name="connsiteY98" fmla="*/ 716168 h 766763"/>
                  <a:gd name="connsiteX99" fmla="*/ 861185 w 1166813"/>
                  <a:gd name="connsiteY99" fmla="*/ 716168 h 766763"/>
                  <a:gd name="connsiteX100" fmla="*/ 854044 w 1166813"/>
                  <a:gd name="connsiteY100" fmla="*/ 716168 h 766763"/>
                  <a:gd name="connsiteX101" fmla="*/ 853330 w 1166813"/>
                  <a:gd name="connsiteY101" fmla="*/ 716168 h 766763"/>
                  <a:gd name="connsiteX102" fmla="*/ 846190 w 1166813"/>
                  <a:gd name="connsiteY102" fmla="*/ 716168 h 766763"/>
                  <a:gd name="connsiteX103" fmla="*/ 843333 w 1166813"/>
                  <a:gd name="connsiteY103" fmla="*/ 716168 h 766763"/>
                  <a:gd name="connsiteX104" fmla="*/ 838335 w 1166813"/>
                  <a:gd name="connsiteY104" fmla="*/ 715456 h 766763"/>
                  <a:gd name="connsiteX105" fmla="*/ 836192 w 1166813"/>
                  <a:gd name="connsiteY105" fmla="*/ 715456 h 766763"/>
                  <a:gd name="connsiteX106" fmla="*/ 829052 w 1166813"/>
                  <a:gd name="connsiteY106" fmla="*/ 714743 h 766763"/>
                  <a:gd name="connsiteX107" fmla="*/ 827623 w 1166813"/>
                  <a:gd name="connsiteY107" fmla="*/ 714743 h 766763"/>
                  <a:gd name="connsiteX108" fmla="*/ 821911 w 1166813"/>
                  <a:gd name="connsiteY108" fmla="*/ 713318 h 766763"/>
                  <a:gd name="connsiteX109" fmla="*/ 819054 w 1166813"/>
                  <a:gd name="connsiteY109" fmla="*/ 712605 h 766763"/>
                  <a:gd name="connsiteX110" fmla="*/ 814770 w 1166813"/>
                  <a:gd name="connsiteY110" fmla="*/ 711893 h 766763"/>
                  <a:gd name="connsiteX111" fmla="*/ 811914 w 1166813"/>
                  <a:gd name="connsiteY111" fmla="*/ 711180 h 766763"/>
                  <a:gd name="connsiteX112" fmla="*/ 805487 w 1166813"/>
                  <a:gd name="connsiteY112" fmla="*/ 709042 h 766763"/>
                  <a:gd name="connsiteX113" fmla="*/ 802630 w 1166813"/>
                  <a:gd name="connsiteY113" fmla="*/ 708330 h 766763"/>
                  <a:gd name="connsiteX114" fmla="*/ 799060 w 1166813"/>
                  <a:gd name="connsiteY114" fmla="*/ 706904 h 766763"/>
                  <a:gd name="connsiteX115" fmla="*/ 795490 w 1166813"/>
                  <a:gd name="connsiteY115" fmla="*/ 706192 h 766763"/>
                  <a:gd name="connsiteX116" fmla="*/ 792633 w 1166813"/>
                  <a:gd name="connsiteY116" fmla="*/ 704767 h 766763"/>
                  <a:gd name="connsiteX117" fmla="*/ 789063 w 1166813"/>
                  <a:gd name="connsiteY117" fmla="*/ 703341 h 766763"/>
                  <a:gd name="connsiteX118" fmla="*/ 784778 w 1166813"/>
                  <a:gd name="connsiteY118" fmla="*/ 701203 h 766763"/>
                  <a:gd name="connsiteX119" fmla="*/ 780494 w 1166813"/>
                  <a:gd name="connsiteY119" fmla="*/ 699066 h 766763"/>
                  <a:gd name="connsiteX120" fmla="*/ 777638 w 1166813"/>
                  <a:gd name="connsiteY120" fmla="*/ 697640 h 766763"/>
                  <a:gd name="connsiteX121" fmla="*/ 774067 w 1166813"/>
                  <a:gd name="connsiteY121" fmla="*/ 696215 h 766763"/>
                  <a:gd name="connsiteX122" fmla="*/ 771925 w 1166813"/>
                  <a:gd name="connsiteY122" fmla="*/ 694790 h 766763"/>
                  <a:gd name="connsiteX123" fmla="*/ 763356 w 1166813"/>
                  <a:gd name="connsiteY123" fmla="*/ 689089 h 766763"/>
                  <a:gd name="connsiteX124" fmla="*/ 757643 w 1166813"/>
                  <a:gd name="connsiteY124" fmla="*/ 694790 h 766763"/>
                  <a:gd name="connsiteX125" fmla="*/ 751216 w 1166813"/>
                  <a:gd name="connsiteY125" fmla="*/ 699778 h 766763"/>
                  <a:gd name="connsiteX126" fmla="*/ 750502 w 1166813"/>
                  <a:gd name="connsiteY126" fmla="*/ 700491 h 766763"/>
                  <a:gd name="connsiteX127" fmla="*/ 744790 w 1166813"/>
                  <a:gd name="connsiteY127" fmla="*/ 704767 h 766763"/>
                  <a:gd name="connsiteX128" fmla="*/ 744076 w 1166813"/>
                  <a:gd name="connsiteY128" fmla="*/ 705479 h 766763"/>
                  <a:gd name="connsiteX129" fmla="*/ 738363 w 1166813"/>
                  <a:gd name="connsiteY129" fmla="*/ 709042 h 766763"/>
                  <a:gd name="connsiteX130" fmla="*/ 736935 w 1166813"/>
                  <a:gd name="connsiteY130" fmla="*/ 709755 h 766763"/>
                  <a:gd name="connsiteX131" fmla="*/ 731222 w 1166813"/>
                  <a:gd name="connsiteY131" fmla="*/ 713318 h 766763"/>
                  <a:gd name="connsiteX132" fmla="*/ 729080 w 1166813"/>
                  <a:gd name="connsiteY132" fmla="*/ 714743 h 766763"/>
                  <a:gd name="connsiteX133" fmla="*/ 724081 w 1166813"/>
                  <a:gd name="connsiteY133" fmla="*/ 717593 h 766763"/>
                  <a:gd name="connsiteX134" fmla="*/ 721939 w 1166813"/>
                  <a:gd name="connsiteY134" fmla="*/ 718306 h 766763"/>
                  <a:gd name="connsiteX135" fmla="*/ 716226 w 1166813"/>
                  <a:gd name="connsiteY135" fmla="*/ 721156 h 766763"/>
                  <a:gd name="connsiteX136" fmla="*/ 714084 w 1166813"/>
                  <a:gd name="connsiteY136" fmla="*/ 722582 h 766763"/>
                  <a:gd name="connsiteX137" fmla="*/ 708371 w 1166813"/>
                  <a:gd name="connsiteY137" fmla="*/ 724719 h 766763"/>
                  <a:gd name="connsiteX138" fmla="*/ 706229 w 1166813"/>
                  <a:gd name="connsiteY138" fmla="*/ 725432 h 766763"/>
                  <a:gd name="connsiteX139" fmla="*/ 700516 w 1166813"/>
                  <a:gd name="connsiteY139" fmla="*/ 727570 h 766763"/>
                  <a:gd name="connsiteX140" fmla="*/ 697660 w 1166813"/>
                  <a:gd name="connsiteY140" fmla="*/ 728282 h 766763"/>
                  <a:gd name="connsiteX141" fmla="*/ 692662 w 1166813"/>
                  <a:gd name="connsiteY141" fmla="*/ 730420 h 766763"/>
                  <a:gd name="connsiteX142" fmla="*/ 689091 w 1166813"/>
                  <a:gd name="connsiteY142" fmla="*/ 731133 h 766763"/>
                  <a:gd name="connsiteX143" fmla="*/ 684093 w 1166813"/>
                  <a:gd name="connsiteY143" fmla="*/ 732558 h 766763"/>
                  <a:gd name="connsiteX144" fmla="*/ 680522 w 1166813"/>
                  <a:gd name="connsiteY144" fmla="*/ 733271 h 766763"/>
                  <a:gd name="connsiteX145" fmla="*/ 675524 w 1166813"/>
                  <a:gd name="connsiteY145" fmla="*/ 734696 h 766763"/>
                  <a:gd name="connsiteX146" fmla="*/ 671239 w 1166813"/>
                  <a:gd name="connsiteY146" fmla="*/ 735409 h 766763"/>
                  <a:gd name="connsiteX147" fmla="*/ 666955 w 1166813"/>
                  <a:gd name="connsiteY147" fmla="*/ 736121 h 766763"/>
                  <a:gd name="connsiteX148" fmla="*/ 662670 w 1166813"/>
                  <a:gd name="connsiteY148" fmla="*/ 736834 h 766763"/>
                  <a:gd name="connsiteX149" fmla="*/ 658386 w 1166813"/>
                  <a:gd name="connsiteY149" fmla="*/ 736834 h 766763"/>
                  <a:gd name="connsiteX150" fmla="*/ 652673 w 1166813"/>
                  <a:gd name="connsiteY150" fmla="*/ 737546 h 766763"/>
                  <a:gd name="connsiteX151" fmla="*/ 649102 w 1166813"/>
                  <a:gd name="connsiteY151" fmla="*/ 737546 h 766763"/>
                  <a:gd name="connsiteX152" fmla="*/ 640533 w 1166813"/>
                  <a:gd name="connsiteY152" fmla="*/ 738259 h 766763"/>
                  <a:gd name="connsiteX153" fmla="*/ 631250 w 1166813"/>
                  <a:gd name="connsiteY153" fmla="*/ 737546 h 766763"/>
                  <a:gd name="connsiteX154" fmla="*/ 627680 w 1166813"/>
                  <a:gd name="connsiteY154" fmla="*/ 737546 h 766763"/>
                  <a:gd name="connsiteX155" fmla="*/ 621967 w 1166813"/>
                  <a:gd name="connsiteY155" fmla="*/ 736834 h 766763"/>
                  <a:gd name="connsiteX156" fmla="*/ 617683 w 1166813"/>
                  <a:gd name="connsiteY156" fmla="*/ 736121 h 766763"/>
                  <a:gd name="connsiteX157" fmla="*/ 613398 w 1166813"/>
                  <a:gd name="connsiteY157" fmla="*/ 736121 h 766763"/>
                  <a:gd name="connsiteX158" fmla="*/ 607686 w 1166813"/>
                  <a:gd name="connsiteY158" fmla="*/ 734696 h 766763"/>
                  <a:gd name="connsiteX159" fmla="*/ 604115 w 1166813"/>
                  <a:gd name="connsiteY159" fmla="*/ 733983 h 766763"/>
                  <a:gd name="connsiteX160" fmla="*/ 598402 w 1166813"/>
                  <a:gd name="connsiteY160" fmla="*/ 733271 h 766763"/>
                  <a:gd name="connsiteX161" fmla="*/ 595546 w 1166813"/>
                  <a:gd name="connsiteY161" fmla="*/ 732558 h 766763"/>
                  <a:gd name="connsiteX162" fmla="*/ 589119 w 1166813"/>
                  <a:gd name="connsiteY162" fmla="*/ 730420 h 766763"/>
                  <a:gd name="connsiteX163" fmla="*/ 586977 w 1166813"/>
                  <a:gd name="connsiteY163" fmla="*/ 729708 h 766763"/>
                  <a:gd name="connsiteX164" fmla="*/ 580550 w 1166813"/>
                  <a:gd name="connsiteY164" fmla="*/ 727570 h 766763"/>
                  <a:gd name="connsiteX165" fmla="*/ 579122 w 1166813"/>
                  <a:gd name="connsiteY165" fmla="*/ 727570 h 766763"/>
                  <a:gd name="connsiteX166" fmla="*/ 571981 w 1166813"/>
                  <a:gd name="connsiteY166" fmla="*/ 724719 h 766763"/>
                  <a:gd name="connsiteX167" fmla="*/ 570553 w 1166813"/>
                  <a:gd name="connsiteY167" fmla="*/ 724007 h 766763"/>
                  <a:gd name="connsiteX168" fmla="*/ 564126 w 1166813"/>
                  <a:gd name="connsiteY168" fmla="*/ 721156 h 766763"/>
                  <a:gd name="connsiteX169" fmla="*/ 562698 w 1166813"/>
                  <a:gd name="connsiteY169" fmla="*/ 720444 h 766763"/>
                  <a:gd name="connsiteX170" fmla="*/ 555557 w 1166813"/>
                  <a:gd name="connsiteY170" fmla="*/ 716881 h 766763"/>
                  <a:gd name="connsiteX171" fmla="*/ 548417 w 1166813"/>
                  <a:gd name="connsiteY171" fmla="*/ 712605 h 766763"/>
                  <a:gd name="connsiteX172" fmla="*/ 547703 w 1166813"/>
                  <a:gd name="connsiteY172" fmla="*/ 712605 h 766763"/>
                  <a:gd name="connsiteX173" fmla="*/ 540562 w 1166813"/>
                  <a:gd name="connsiteY173" fmla="*/ 708330 h 766763"/>
                  <a:gd name="connsiteX174" fmla="*/ 514141 w 1166813"/>
                  <a:gd name="connsiteY174" fmla="*/ 686951 h 766763"/>
                  <a:gd name="connsiteX175" fmla="*/ 506286 w 1166813"/>
                  <a:gd name="connsiteY175" fmla="*/ 695503 h 766763"/>
                  <a:gd name="connsiteX176" fmla="*/ 505572 w 1166813"/>
                  <a:gd name="connsiteY176" fmla="*/ 695503 h 766763"/>
                  <a:gd name="connsiteX177" fmla="*/ 497717 w 1166813"/>
                  <a:gd name="connsiteY177" fmla="*/ 704054 h 766763"/>
                  <a:gd name="connsiteX178" fmla="*/ 497003 w 1166813"/>
                  <a:gd name="connsiteY178" fmla="*/ 704054 h 766763"/>
                  <a:gd name="connsiteX179" fmla="*/ 474152 w 1166813"/>
                  <a:gd name="connsiteY179" fmla="*/ 723294 h 766763"/>
                  <a:gd name="connsiteX180" fmla="*/ 472724 w 1166813"/>
                  <a:gd name="connsiteY180" fmla="*/ 724719 h 766763"/>
                  <a:gd name="connsiteX181" fmla="*/ 464869 w 1166813"/>
                  <a:gd name="connsiteY181" fmla="*/ 729708 h 766763"/>
                  <a:gd name="connsiteX182" fmla="*/ 462012 w 1166813"/>
                  <a:gd name="connsiteY182" fmla="*/ 731846 h 766763"/>
                  <a:gd name="connsiteX183" fmla="*/ 455586 w 1166813"/>
                  <a:gd name="connsiteY183" fmla="*/ 735409 h 766763"/>
                  <a:gd name="connsiteX184" fmla="*/ 452015 w 1166813"/>
                  <a:gd name="connsiteY184" fmla="*/ 737546 h 766763"/>
                  <a:gd name="connsiteX185" fmla="*/ 446303 w 1166813"/>
                  <a:gd name="connsiteY185" fmla="*/ 740397 h 766763"/>
                  <a:gd name="connsiteX186" fmla="*/ 441304 w 1166813"/>
                  <a:gd name="connsiteY186" fmla="*/ 743247 h 766763"/>
                  <a:gd name="connsiteX187" fmla="*/ 437734 w 1166813"/>
                  <a:gd name="connsiteY187" fmla="*/ 745385 h 766763"/>
                  <a:gd name="connsiteX188" fmla="*/ 430593 w 1166813"/>
                  <a:gd name="connsiteY188" fmla="*/ 748235 h 766763"/>
                  <a:gd name="connsiteX189" fmla="*/ 427022 w 1166813"/>
                  <a:gd name="connsiteY189" fmla="*/ 749661 h 766763"/>
                  <a:gd name="connsiteX190" fmla="*/ 419167 w 1166813"/>
                  <a:gd name="connsiteY190" fmla="*/ 752511 h 766763"/>
                  <a:gd name="connsiteX191" fmla="*/ 416311 w 1166813"/>
                  <a:gd name="connsiteY191" fmla="*/ 753936 h 766763"/>
                  <a:gd name="connsiteX192" fmla="*/ 408456 w 1166813"/>
                  <a:gd name="connsiteY192" fmla="*/ 756787 h 766763"/>
                  <a:gd name="connsiteX193" fmla="*/ 406314 w 1166813"/>
                  <a:gd name="connsiteY193" fmla="*/ 756787 h 766763"/>
                  <a:gd name="connsiteX194" fmla="*/ 397745 w 1166813"/>
                  <a:gd name="connsiteY194" fmla="*/ 759637 h 766763"/>
                  <a:gd name="connsiteX195" fmla="*/ 396317 w 1166813"/>
                  <a:gd name="connsiteY195" fmla="*/ 759637 h 766763"/>
                  <a:gd name="connsiteX196" fmla="*/ 387034 w 1166813"/>
                  <a:gd name="connsiteY196" fmla="*/ 761775 h 766763"/>
                  <a:gd name="connsiteX197" fmla="*/ 384891 w 1166813"/>
                  <a:gd name="connsiteY197" fmla="*/ 762488 h 766763"/>
                  <a:gd name="connsiteX198" fmla="*/ 374894 w 1166813"/>
                  <a:gd name="connsiteY198" fmla="*/ 763913 h 766763"/>
                  <a:gd name="connsiteX199" fmla="*/ 373466 w 1166813"/>
                  <a:gd name="connsiteY199" fmla="*/ 764625 h 766763"/>
                  <a:gd name="connsiteX200" fmla="*/ 363469 w 1166813"/>
                  <a:gd name="connsiteY200" fmla="*/ 766051 h 766763"/>
                  <a:gd name="connsiteX201" fmla="*/ 361327 w 1166813"/>
                  <a:gd name="connsiteY201" fmla="*/ 766051 h 766763"/>
                  <a:gd name="connsiteX202" fmla="*/ 351329 w 1166813"/>
                  <a:gd name="connsiteY202" fmla="*/ 766763 h 766763"/>
                  <a:gd name="connsiteX203" fmla="*/ 349901 w 1166813"/>
                  <a:gd name="connsiteY203" fmla="*/ 766763 h 766763"/>
                  <a:gd name="connsiteX204" fmla="*/ 339190 w 1166813"/>
                  <a:gd name="connsiteY204" fmla="*/ 766763 h 766763"/>
                  <a:gd name="connsiteX205" fmla="*/ 328479 w 1166813"/>
                  <a:gd name="connsiteY205" fmla="*/ 766763 h 766763"/>
                  <a:gd name="connsiteX206" fmla="*/ 326337 w 1166813"/>
                  <a:gd name="connsiteY206" fmla="*/ 766763 h 766763"/>
                  <a:gd name="connsiteX207" fmla="*/ 315625 w 1166813"/>
                  <a:gd name="connsiteY207" fmla="*/ 766051 h 766763"/>
                  <a:gd name="connsiteX208" fmla="*/ 314197 w 1166813"/>
                  <a:gd name="connsiteY208" fmla="*/ 766051 h 766763"/>
                  <a:gd name="connsiteX209" fmla="*/ 304914 w 1166813"/>
                  <a:gd name="connsiteY209" fmla="*/ 764625 h 766763"/>
                  <a:gd name="connsiteX210" fmla="*/ 303486 w 1166813"/>
                  <a:gd name="connsiteY210" fmla="*/ 764625 h 766763"/>
                  <a:gd name="connsiteX211" fmla="*/ 293489 w 1166813"/>
                  <a:gd name="connsiteY211" fmla="*/ 762488 h 766763"/>
                  <a:gd name="connsiteX212" fmla="*/ 291346 w 1166813"/>
                  <a:gd name="connsiteY212" fmla="*/ 761775 h 766763"/>
                  <a:gd name="connsiteX213" fmla="*/ 281349 w 1166813"/>
                  <a:gd name="connsiteY213" fmla="*/ 759637 h 766763"/>
                  <a:gd name="connsiteX214" fmla="*/ 271352 w 1166813"/>
                  <a:gd name="connsiteY214" fmla="*/ 756787 h 766763"/>
                  <a:gd name="connsiteX215" fmla="*/ 269924 w 1166813"/>
                  <a:gd name="connsiteY215" fmla="*/ 756074 h 766763"/>
                  <a:gd name="connsiteX216" fmla="*/ 260641 w 1166813"/>
                  <a:gd name="connsiteY216" fmla="*/ 753224 h 766763"/>
                  <a:gd name="connsiteX217" fmla="*/ 259213 w 1166813"/>
                  <a:gd name="connsiteY217" fmla="*/ 752511 h 766763"/>
                  <a:gd name="connsiteX218" fmla="*/ 251358 w 1166813"/>
                  <a:gd name="connsiteY218" fmla="*/ 749661 h 766763"/>
                  <a:gd name="connsiteX219" fmla="*/ 249216 w 1166813"/>
                  <a:gd name="connsiteY219" fmla="*/ 748948 h 766763"/>
                  <a:gd name="connsiteX220" fmla="*/ 240646 w 1166813"/>
                  <a:gd name="connsiteY220" fmla="*/ 744672 h 766763"/>
                  <a:gd name="connsiteX221" fmla="*/ 238504 w 1166813"/>
                  <a:gd name="connsiteY221" fmla="*/ 743960 h 766763"/>
                  <a:gd name="connsiteX222" fmla="*/ 230649 w 1166813"/>
                  <a:gd name="connsiteY222" fmla="*/ 739684 h 766763"/>
                  <a:gd name="connsiteX223" fmla="*/ 229221 w 1166813"/>
                  <a:gd name="connsiteY223" fmla="*/ 738972 h 766763"/>
                  <a:gd name="connsiteX224" fmla="*/ 221366 w 1166813"/>
                  <a:gd name="connsiteY224" fmla="*/ 734696 h 766763"/>
                  <a:gd name="connsiteX225" fmla="*/ 218510 w 1166813"/>
                  <a:gd name="connsiteY225" fmla="*/ 733271 h 766763"/>
                  <a:gd name="connsiteX226" fmla="*/ 211369 w 1166813"/>
                  <a:gd name="connsiteY226" fmla="*/ 728282 h 766763"/>
                  <a:gd name="connsiteX227" fmla="*/ 209227 w 1166813"/>
                  <a:gd name="connsiteY227" fmla="*/ 726857 h 766763"/>
                  <a:gd name="connsiteX228" fmla="*/ 202800 w 1166813"/>
                  <a:gd name="connsiteY228" fmla="*/ 722582 h 766763"/>
                  <a:gd name="connsiteX229" fmla="*/ 200658 w 1166813"/>
                  <a:gd name="connsiteY229" fmla="*/ 720444 h 766763"/>
                  <a:gd name="connsiteX230" fmla="*/ 193517 w 1166813"/>
                  <a:gd name="connsiteY230" fmla="*/ 715456 h 766763"/>
                  <a:gd name="connsiteX231" fmla="*/ 191375 w 1166813"/>
                  <a:gd name="connsiteY231" fmla="*/ 713318 h 766763"/>
                  <a:gd name="connsiteX232" fmla="*/ 185662 w 1166813"/>
                  <a:gd name="connsiteY232" fmla="*/ 708330 h 766763"/>
                  <a:gd name="connsiteX233" fmla="*/ 184234 w 1166813"/>
                  <a:gd name="connsiteY233" fmla="*/ 706904 h 766763"/>
                  <a:gd name="connsiteX234" fmla="*/ 177807 w 1166813"/>
                  <a:gd name="connsiteY234" fmla="*/ 700491 h 766763"/>
                  <a:gd name="connsiteX235" fmla="*/ 174951 w 1166813"/>
                  <a:gd name="connsiteY235" fmla="*/ 698353 h 766763"/>
                  <a:gd name="connsiteX236" fmla="*/ 169238 w 1166813"/>
                  <a:gd name="connsiteY236" fmla="*/ 691940 h 766763"/>
                  <a:gd name="connsiteX237" fmla="*/ 167096 w 1166813"/>
                  <a:gd name="connsiteY237" fmla="*/ 689802 h 766763"/>
                  <a:gd name="connsiteX238" fmla="*/ 162811 w 1166813"/>
                  <a:gd name="connsiteY238" fmla="*/ 684814 h 766763"/>
                  <a:gd name="connsiteX239" fmla="*/ 160669 w 1166813"/>
                  <a:gd name="connsiteY239" fmla="*/ 682676 h 766763"/>
                  <a:gd name="connsiteX240" fmla="*/ 154956 w 1166813"/>
                  <a:gd name="connsiteY240" fmla="*/ 675550 h 766763"/>
                  <a:gd name="connsiteX241" fmla="*/ 153528 w 1166813"/>
                  <a:gd name="connsiteY241" fmla="*/ 672699 h 766763"/>
                  <a:gd name="connsiteX242" fmla="*/ 149244 w 1166813"/>
                  <a:gd name="connsiteY242" fmla="*/ 666998 h 766763"/>
                  <a:gd name="connsiteX243" fmla="*/ 147816 w 1166813"/>
                  <a:gd name="connsiteY243" fmla="*/ 664861 h 766763"/>
                  <a:gd name="connsiteX244" fmla="*/ 139247 w 1166813"/>
                  <a:gd name="connsiteY244" fmla="*/ 662010 h 766763"/>
                  <a:gd name="connsiteX245" fmla="*/ 135676 w 1166813"/>
                  <a:gd name="connsiteY245" fmla="*/ 660585 h 766763"/>
                  <a:gd name="connsiteX246" fmla="*/ 129964 w 1166813"/>
                  <a:gd name="connsiteY246" fmla="*/ 658447 h 766763"/>
                  <a:gd name="connsiteX247" fmla="*/ 127107 w 1166813"/>
                  <a:gd name="connsiteY247" fmla="*/ 657022 h 766763"/>
                  <a:gd name="connsiteX248" fmla="*/ 121394 w 1166813"/>
                  <a:gd name="connsiteY248" fmla="*/ 654884 h 766763"/>
                  <a:gd name="connsiteX249" fmla="*/ 117824 w 1166813"/>
                  <a:gd name="connsiteY249" fmla="*/ 653459 h 766763"/>
                  <a:gd name="connsiteX250" fmla="*/ 112111 w 1166813"/>
                  <a:gd name="connsiteY250" fmla="*/ 649896 h 766763"/>
                  <a:gd name="connsiteX251" fmla="*/ 109969 w 1166813"/>
                  <a:gd name="connsiteY251" fmla="*/ 649183 h 766763"/>
                  <a:gd name="connsiteX252" fmla="*/ 102114 w 1166813"/>
                  <a:gd name="connsiteY252" fmla="*/ 644195 h 766763"/>
                  <a:gd name="connsiteX253" fmla="*/ 99258 w 1166813"/>
                  <a:gd name="connsiteY253" fmla="*/ 642770 h 766763"/>
                  <a:gd name="connsiteX254" fmla="*/ 94259 w 1166813"/>
                  <a:gd name="connsiteY254" fmla="*/ 639207 h 766763"/>
                  <a:gd name="connsiteX255" fmla="*/ 91403 w 1166813"/>
                  <a:gd name="connsiteY255" fmla="*/ 637782 h 766763"/>
                  <a:gd name="connsiteX256" fmla="*/ 86404 w 1166813"/>
                  <a:gd name="connsiteY256" fmla="*/ 634219 h 766763"/>
                  <a:gd name="connsiteX257" fmla="*/ 83548 w 1166813"/>
                  <a:gd name="connsiteY257" fmla="*/ 632081 h 766763"/>
                  <a:gd name="connsiteX258" fmla="*/ 78549 w 1166813"/>
                  <a:gd name="connsiteY258" fmla="*/ 628518 h 766763"/>
                  <a:gd name="connsiteX259" fmla="*/ 76407 w 1166813"/>
                  <a:gd name="connsiteY259" fmla="*/ 626380 h 766763"/>
                  <a:gd name="connsiteX260" fmla="*/ 69266 w 1166813"/>
                  <a:gd name="connsiteY260" fmla="*/ 620679 h 766763"/>
                  <a:gd name="connsiteX261" fmla="*/ 67838 w 1166813"/>
                  <a:gd name="connsiteY261" fmla="*/ 619254 h 766763"/>
                  <a:gd name="connsiteX262" fmla="*/ 62126 w 1166813"/>
                  <a:gd name="connsiteY262" fmla="*/ 614266 h 766763"/>
                  <a:gd name="connsiteX263" fmla="*/ 59983 w 1166813"/>
                  <a:gd name="connsiteY263" fmla="*/ 612128 h 766763"/>
                  <a:gd name="connsiteX264" fmla="*/ 55699 w 1166813"/>
                  <a:gd name="connsiteY264" fmla="*/ 607140 h 766763"/>
                  <a:gd name="connsiteX265" fmla="*/ 53557 w 1166813"/>
                  <a:gd name="connsiteY265" fmla="*/ 605002 h 766763"/>
                  <a:gd name="connsiteX266" fmla="*/ 49272 w 1166813"/>
                  <a:gd name="connsiteY266" fmla="*/ 600014 h 766763"/>
                  <a:gd name="connsiteX267" fmla="*/ 47844 w 1166813"/>
                  <a:gd name="connsiteY267" fmla="*/ 597876 h 766763"/>
                  <a:gd name="connsiteX268" fmla="*/ 42131 w 1166813"/>
                  <a:gd name="connsiteY268" fmla="*/ 590750 h 766763"/>
                  <a:gd name="connsiteX269" fmla="*/ 41417 w 1166813"/>
                  <a:gd name="connsiteY269" fmla="*/ 590750 h 766763"/>
                  <a:gd name="connsiteX270" fmla="*/ 36419 w 1166813"/>
                  <a:gd name="connsiteY270" fmla="*/ 582911 h 766763"/>
                  <a:gd name="connsiteX271" fmla="*/ 34990 w 1166813"/>
                  <a:gd name="connsiteY271" fmla="*/ 580773 h 766763"/>
                  <a:gd name="connsiteX272" fmla="*/ 31420 w 1166813"/>
                  <a:gd name="connsiteY272" fmla="*/ 575072 h 766763"/>
                  <a:gd name="connsiteX273" fmla="*/ 29278 w 1166813"/>
                  <a:gd name="connsiteY273" fmla="*/ 572222 h 766763"/>
                  <a:gd name="connsiteX274" fmla="*/ 26421 w 1166813"/>
                  <a:gd name="connsiteY274" fmla="*/ 567234 h 766763"/>
                  <a:gd name="connsiteX275" fmla="*/ 24993 w 1166813"/>
                  <a:gd name="connsiteY275" fmla="*/ 564383 h 766763"/>
                  <a:gd name="connsiteX276" fmla="*/ 21423 w 1166813"/>
                  <a:gd name="connsiteY276" fmla="*/ 557970 h 766763"/>
                  <a:gd name="connsiteX277" fmla="*/ 20709 w 1166813"/>
                  <a:gd name="connsiteY277" fmla="*/ 555832 h 766763"/>
                  <a:gd name="connsiteX278" fmla="*/ 16424 w 1166813"/>
                  <a:gd name="connsiteY278" fmla="*/ 547281 h 766763"/>
                  <a:gd name="connsiteX279" fmla="*/ 15710 w 1166813"/>
                  <a:gd name="connsiteY279" fmla="*/ 545143 h 766763"/>
                  <a:gd name="connsiteX280" fmla="*/ 13568 w 1166813"/>
                  <a:gd name="connsiteY280" fmla="*/ 538730 h 766763"/>
                  <a:gd name="connsiteX281" fmla="*/ 12140 w 1166813"/>
                  <a:gd name="connsiteY281" fmla="*/ 535879 h 766763"/>
                  <a:gd name="connsiteX282" fmla="*/ 9997 w 1166813"/>
                  <a:gd name="connsiteY282" fmla="*/ 530178 h 766763"/>
                  <a:gd name="connsiteX283" fmla="*/ 9283 w 1166813"/>
                  <a:gd name="connsiteY283" fmla="*/ 526615 h 766763"/>
                  <a:gd name="connsiteX284" fmla="*/ 7141 w 1166813"/>
                  <a:gd name="connsiteY284" fmla="*/ 520202 h 766763"/>
                  <a:gd name="connsiteX285" fmla="*/ 6427 w 1166813"/>
                  <a:gd name="connsiteY285" fmla="*/ 517351 h 766763"/>
                  <a:gd name="connsiteX286" fmla="*/ 4285 w 1166813"/>
                  <a:gd name="connsiteY286" fmla="*/ 508088 h 766763"/>
                  <a:gd name="connsiteX287" fmla="*/ 4285 w 1166813"/>
                  <a:gd name="connsiteY287" fmla="*/ 506662 h 766763"/>
                  <a:gd name="connsiteX288" fmla="*/ 2857 w 1166813"/>
                  <a:gd name="connsiteY288" fmla="*/ 498824 h 766763"/>
                  <a:gd name="connsiteX289" fmla="*/ 2143 w 1166813"/>
                  <a:gd name="connsiteY289" fmla="*/ 495261 h 766763"/>
                  <a:gd name="connsiteX290" fmla="*/ 1428 w 1166813"/>
                  <a:gd name="connsiteY290" fmla="*/ 488847 h 766763"/>
                  <a:gd name="connsiteX291" fmla="*/ 714 w 1166813"/>
                  <a:gd name="connsiteY291" fmla="*/ 485284 h 766763"/>
                  <a:gd name="connsiteX292" fmla="*/ 714 w 1166813"/>
                  <a:gd name="connsiteY292" fmla="*/ 478871 h 766763"/>
                  <a:gd name="connsiteX293" fmla="*/ 0 w 1166813"/>
                  <a:gd name="connsiteY293" fmla="*/ 476020 h 766763"/>
                  <a:gd name="connsiteX294" fmla="*/ 0 w 1166813"/>
                  <a:gd name="connsiteY294" fmla="*/ 466044 h 766763"/>
                  <a:gd name="connsiteX295" fmla="*/ 179949 w 1166813"/>
                  <a:gd name="connsiteY295" fmla="*/ 260101 h 766763"/>
                  <a:gd name="connsiteX296" fmla="*/ 179235 w 1166813"/>
                  <a:gd name="connsiteY296" fmla="*/ 235872 h 766763"/>
                  <a:gd name="connsiteX297" fmla="*/ 417739 w 1166813"/>
                  <a:gd name="connsiteY297" fmla="*/ 0 h 7667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</a:cxnLst>
                <a:rect l="l" t="t" r="r" b="b"/>
                <a:pathLst>
                  <a:path w="1166813" h="766763">
                    <a:moveTo>
                      <a:pt x="822458" y="412750"/>
                    </a:moveTo>
                    <a:cubicBezTo>
                      <a:pt x="813143" y="412750"/>
                      <a:pt x="804544" y="414872"/>
                      <a:pt x="796661" y="419822"/>
                    </a:cubicBezTo>
                    <a:cubicBezTo>
                      <a:pt x="788779" y="424772"/>
                      <a:pt x="783046" y="430429"/>
                      <a:pt x="779463" y="438208"/>
                    </a:cubicBezTo>
                    <a:cubicBezTo>
                      <a:pt x="779463" y="438208"/>
                      <a:pt x="779463" y="438208"/>
                      <a:pt x="798094" y="452351"/>
                    </a:cubicBezTo>
                    <a:cubicBezTo>
                      <a:pt x="804544" y="441036"/>
                      <a:pt x="813143" y="435379"/>
                      <a:pt x="823891" y="435379"/>
                    </a:cubicBezTo>
                    <a:cubicBezTo>
                      <a:pt x="838223" y="435379"/>
                      <a:pt x="844672" y="441036"/>
                      <a:pt x="844672" y="453058"/>
                    </a:cubicBezTo>
                    <a:cubicBezTo>
                      <a:pt x="844672" y="462958"/>
                      <a:pt x="840373" y="474980"/>
                      <a:pt x="830341" y="489123"/>
                    </a:cubicBezTo>
                    <a:cubicBezTo>
                      <a:pt x="830341" y="489123"/>
                      <a:pt x="830341" y="489123"/>
                      <a:pt x="780896" y="560546"/>
                    </a:cubicBezTo>
                    <a:cubicBezTo>
                      <a:pt x="780896" y="560546"/>
                      <a:pt x="780896" y="560546"/>
                      <a:pt x="780896" y="568325"/>
                    </a:cubicBezTo>
                    <a:cubicBezTo>
                      <a:pt x="780896" y="568325"/>
                      <a:pt x="780896" y="568325"/>
                      <a:pt x="882651" y="568325"/>
                    </a:cubicBezTo>
                    <a:cubicBezTo>
                      <a:pt x="882651" y="568325"/>
                      <a:pt x="882651" y="568325"/>
                      <a:pt x="882651" y="544282"/>
                    </a:cubicBezTo>
                    <a:cubicBezTo>
                      <a:pt x="882651" y="544282"/>
                      <a:pt x="882651" y="544282"/>
                      <a:pt x="824608" y="544282"/>
                    </a:cubicBezTo>
                    <a:cubicBezTo>
                      <a:pt x="824608" y="544282"/>
                      <a:pt x="824608" y="544282"/>
                      <a:pt x="856138" y="496195"/>
                    </a:cubicBezTo>
                    <a:cubicBezTo>
                      <a:pt x="867603" y="479223"/>
                      <a:pt x="873336" y="464373"/>
                      <a:pt x="873336" y="453058"/>
                    </a:cubicBezTo>
                    <a:cubicBezTo>
                      <a:pt x="873336" y="440329"/>
                      <a:pt x="869036" y="430429"/>
                      <a:pt x="860437" y="423358"/>
                    </a:cubicBezTo>
                    <a:cubicBezTo>
                      <a:pt x="851122" y="416286"/>
                      <a:pt x="838940" y="412750"/>
                      <a:pt x="822458" y="412750"/>
                    </a:cubicBezTo>
                    <a:close/>
                    <a:moveTo>
                      <a:pt x="631630" y="295275"/>
                    </a:moveTo>
                    <a:cubicBezTo>
                      <a:pt x="677269" y="295275"/>
                      <a:pt x="700088" y="325955"/>
                      <a:pt x="700088" y="388741"/>
                    </a:cubicBezTo>
                    <a:cubicBezTo>
                      <a:pt x="700088" y="420135"/>
                      <a:pt x="694383" y="444393"/>
                      <a:pt x="681548" y="460803"/>
                    </a:cubicBezTo>
                    <a:cubicBezTo>
                      <a:pt x="669425" y="477927"/>
                      <a:pt x="651597" y="485775"/>
                      <a:pt x="628065" y="485775"/>
                    </a:cubicBezTo>
                    <a:cubicBezTo>
                      <a:pt x="608098" y="485775"/>
                      <a:pt x="592410" y="477927"/>
                      <a:pt x="582426" y="460803"/>
                    </a:cubicBezTo>
                    <a:cubicBezTo>
                      <a:pt x="572443" y="443680"/>
                      <a:pt x="566738" y="419421"/>
                      <a:pt x="566738" y="388741"/>
                    </a:cubicBezTo>
                    <a:cubicBezTo>
                      <a:pt x="566738" y="360202"/>
                      <a:pt x="572443" y="337371"/>
                      <a:pt x="583140" y="320247"/>
                    </a:cubicBezTo>
                    <a:cubicBezTo>
                      <a:pt x="594549" y="303837"/>
                      <a:pt x="610237" y="295275"/>
                      <a:pt x="631630" y="295275"/>
                    </a:cubicBezTo>
                    <a:close/>
                    <a:moveTo>
                      <a:pt x="631630" y="252413"/>
                    </a:moveTo>
                    <a:cubicBezTo>
                      <a:pt x="596685" y="252413"/>
                      <a:pt x="568872" y="265253"/>
                      <a:pt x="548191" y="291647"/>
                    </a:cubicBezTo>
                    <a:cubicBezTo>
                      <a:pt x="527509" y="318041"/>
                      <a:pt x="517525" y="350141"/>
                      <a:pt x="517525" y="387949"/>
                    </a:cubicBezTo>
                    <a:cubicBezTo>
                      <a:pt x="517525" y="430749"/>
                      <a:pt x="526796" y="464990"/>
                      <a:pt x="546051" y="489957"/>
                    </a:cubicBezTo>
                    <a:cubicBezTo>
                      <a:pt x="564593" y="514924"/>
                      <a:pt x="592406" y="527051"/>
                      <a:pt x="628064" y="527051"/>
                    </a:cubicBezTo>
                    <a:cubicBezTo>
                      <a:pt x="666574" y="527051"/>
                      <a:pt x="696527" y="514924"/>
                      <a:pt x="717921" y="489244"/>
                    </a:cubicBezTo>
                    <a:cubicBezTo>
                      <a:pt x="738603" y="464277"/>
                      <a:pt x="749300" y="430749"/>
                      <a:pt x="749300" y="387949"/>
                    </a:cubicBezTo>
                    <a:cubicBezTo>
                      <a:pt x="749300" y="345148"/>
                      <a:pt x="739316" y="311621"/>
                      <a:pt x="718635" y="288080"/>
                    </a:cubicBezTo>
                    <a:cubicBezTo>
                      <a:pt x="698666" y="264540"/>
                      <a:pt x="669427" y="252413"/>
                      <a:pt x="631630" y="252413"/>
                    </a:cubicBezTo>
                    <a:close/>
                    <a:moveTo>
                      <a:pt x="412336" y="252413"/>
                    </a:moveTo>
                    <a:cubicBezTo>
                      <a:pt x="376715" y="252413"/>
                      <a:pt x="347506" y="265967"/>
                      <a:pt x="324709" y="292360"/>
                    </a:cubicBezTo>
                    <a:cubicBezTo>
                      <a:pt x="301912" y="318754"/>
                      <a:pt x="290513" y="351568"/>
                      <a:pt x="290513" y="390802"/>
                    </a:cubicBezTo>
                    <a:cubicBezTo>
                      <a:pt x="290513" y="432890"/>
                      <a:pt x="301199" y="466417"/>
                      <a:pt x="321859" y="490671"/>
                    </a:cubicBezTo>
                    <a:cubicBezTo>
                      <a:pt x="341807" y="514924"/>
                      <a:pt x="371016" y="527051"/>
                      <a:pt x="408061" y="527051"/>
                    </a:cubicBezTo>
                    <a:cubicBezTo>
                      <a:pt x="445107" y="527051"/>
                      <a:pt x="472891" y="517064"/>
                      <a:pt x="492126" y="496377"/>
                    </a:cubicBezTo>
                    <a:cubicBezTo>
                      <a:pt x="492126" y="496377"/>
                      <a:pt x="492126" y="496377"/>
                      <a:pt x="470041" y="458570"/>
                    </a:cubicBezTo>
                    <a:cubicBezTo>
                      <a:pt x="456506" y="476404"/>
                      <a:pt x="436558" y="484964"/>
                      <a:pt x="411624" y="484964"/>
                    </a:cubicBezTo>
                    <a:cubicBezTo>
                      <a:pt x="389539" y="484964"/>
                      <a:pt x="372441" y="477117"/>
                      <a:pt x="359617" y="459997"/>
                    </a:cubicBezTo>
                    <a:cubicBezTo>
                      <a:pt x="346081" y="443590"/>
                      <a:pt x="339670" y="420763"/>
                      <a:pt x="339670" y="392942"/>
                    </a:cubicBezTo>
                    <a:cubicBezTo>
                      <a:pt x="339670" y="364408"/>
                      <a:pt x="346794" y="340868"/>
                      <a:pt x="361042" y="322321"/>
                    </a:cubicBezTo>
                    <a:cubicBezTo>
                      <a:pt x="375290" y="303774"/>
                      <a:pt x="393101" y="294501"/>
                      <a:pt x="415186" y="294501"/>
                    </a:cubicBezTo>
                    <a:cubicBezTo>
                      <a:pt x="438695" y="294501"/>
                      <a:pt x="455081" y="299494"/>
                      <a:pt x="465767" y="310194"/>
                    </a:cubicBezTo>
                    <a:cubicBezTo>
                      <a:pt x="465767" y="310194"/>
                      <a:pt x="465767" y="310194"/>
                      <a:pt x="485002" y="271673"/>
                    </a:cubicBezTo>
                    <a:cubicBezTo>
                      <a:pt x="467192" y="258833"/>
                      <a:pt x="442970" y="252413"/>
                      <a:pt x="412336" y="252413"/>
                    </a:cubicBezTo>
                    <a:close/>
                    <a:moveTo>
                      <a:pt x="417739" y="0"/>
                    </a:moveTo>
                    <a:cubicBezTo>
                      <a:pt x="500573" y="0"/>
                      <a:pt x="573410" y="41331"/>
                      <a:pt x="616255" y="104040"/>
                    </a:cubicBezTo>
                    <a:cubicBezTo>
                      <a:pt x="643390" y="86938"/>
                      <a:pt x="675524" y="76961"/>
                      <a:pt x="709800" y="76961"/>
                    </a:cubicBezTo>
                    <a:cubicBezTo>
                      <a:pt x="805487" y="76961"/>
                      <a:pt x="882608" y="153923"/>
                      <a:pt x="884036" y="248699"/>
                    </a:cubicBezTo>
                    <a:cubicBezTo>
                      <a:pt x="884750" y="248699"/>
                      <a:pt x="884750" y="248699"/>
                      <a:pt x="885464" y="248699"/>
                    </a:cubicBezTo>
                    <a:cubicBezTo>
                      <a:pt x="886892" y="248699"/>
                      <a:pt x="889035" y="248699"/>
                      <a:pt x="891177" y="248699"/>
                    </a:cubicBezTo>
                    <a:cubicBezTo>
                      <a:pt x="950446" y="250837"/>
                      <a:pt x="1001860" y="285755"/>
                      <a:pt x="1026853" y="336350"/>
                    </a:cubicBezTo>
                    <a:cubicBezTo>
                      <a:pt x="1041849" y="339200"/>
                      <a:pt x="1055416" y="343476"/>
                      <a:pt x="1068984" y="349889"/>
                    </a:cubicBezTo>
                    <a:cubicBezTo>
                      <a:pt x="1068984" y="349889"/>
                      <a:pt x="1068984" y="349889"/>
                      <a:pt x="1069698" y="349889"/>
                    </a:cubicBezTo>
                    <a:cubicBezTo>
                      <a:pt x="1073268" y="352027"/>
                      <a:pt x="1077553" y="354165"/>
                      <a:pt x="1081123" y="356303"/>
                    </a:cubicBezTo>
                    <a:cubicBezTo>
                      <a:pt x="1081837" y="357015"/>
                      <a:pt x="1082551" y="357015"/>
                      <a:pt x="1083265" y="357728"/>
                    </a:cubicBezTo>
                    <a:cubicBezTo>
                      <a:pt x="1088264" y="360578"/>
                      <a:pt x="1092548" y="363429"/>
                      <a:pt x="1096833" y="366279"/>
                    </a:cubicBezTo>
                    <a:cubicBezTo>
                      <a:pt x="1100403" y="369130"/>
                      <a:pt x="1103974" y="371980"/>
                      <a:pt x="1107544" y="374830"/>
                    </a:cubicBezTo>
                    <a:cubicBezTo>
                      <a:pt x="1109686" y="376968"/>
                      <a:pt x="1111829" y="379106"/>
                      <a:pt x="1113971" y="381244"/>
                    </a:cubicBezTo>
                    <a:cubicBezTo>
                      <a:pt x="1119684" y="386232"/>
                      <a:pt x="1125396" y="392646"/>
                      <a:pt x="1130395" y="398346"/>
                    </a:cubicBezTo>
                    <a:cubicBezTo>
                      <a:pt x="1136108" y="405472"/>
                      <a:pt x="1141106" y="413311"/>
                      <a:pt x="1145391" y="421150"/>
                    </a:cubicBezTo>
                    <a:cubicBezTo>
                      <a:pt x="1153246" y="434689"/>
                      <a:pt x="1158958" y="449654"/>
                      <a:pt x="1162529" y="466044"/>
                    </a:cubicBezTo>
                    <a:cubicBezTo>
                      <a:pt x="1165385" y="478158"/>
                      <a:pt x="1166813" y="490272"/>
                      <a:pt x="1166813" y="503812"/>
                    </a:cubicBezTo>
                    <a:cubicBezTo>
                      <a:pt x="1166813" y="506662"/>
                      <a:pt x="1166813" y="509513"/>
                      <a:pt x="1166813" y="512363"/>
                    </a:cubicBezTo>
                    <a:cubicBezTo>
                      <a:pt x="1166099" y="520914"/>
                      <a:pt x="1165385" y="529466"/>
                      <a:pt x="1163243" y="538017"/>
                    </a:cubicBezTo>
                    <a:cubicBezTo>
                      <a:pt x="1162529" y="540867"/>
                      <a:pt x="1161815" y="543718"/>
                      <a:pt x="1161101" y="546568"/>
                    </a:cubicBezTo>
                    <a:cubicBezTo>
                      <a:pt x="1142534" y="619967"/>
                      <a:pt x="1074696" y="674125"/>
                      <a:pt x="994005" y="674125"/>
                    </a:cubicBezTo>
                    <a:cubicBezTo>
                      <a:pt x="986864" y="674125"/>
                      <a:pt x="976153" y="674125"/>
                      <a:pt x="961871" y="674125"/>
                    </a:cubicBezTo>
                    <a:cubicBezTo>
                      <a:pt x="961871" y="674837"/>
                      <a:pt x="961157" y="674837"/>
                      <a:pt x="961157" y="674837"/>
                    </a:cubicBezTo>
                    <a:cubicBezTo>
                      <a:pt x="959729" y="676262"/>
                      <a:pt x="957587" y="677688"/>
                      <a:pt x="956158" y="679113"/>
                    </a:cubicBezTo>
                    <a:cubicBezTo>
                      <a:pt x="955444" y="679825"/>
                      <a:pt x="954730" y="680538"/>
                      <a:pt x="954016" y="681251"/>
                    </a:cubicBezTo>
                    <a:cubicBezTo>
                      <a:pt x="952588" y="681963"/>
                      <a:pt x="951160" y="682676"/>
                      <a:pt x="950446" y="684101"/>
                    </a:cubicBezTo>
                    <a:cubicBezTo>
                      <a:pt x="949018" y="684814"/>
                      <a:pt x="948304" y="685526"/>
                      <a:pt x="947589" y="685526"/>
                    </a:cubicBezTo>
                    <a:cubicBezTo>
                      <a:pt x="946161" y="686951"/>
                      <a:pt x="945447" y="687664"/>
                      <a:pt x="944019" y="688377"/>
                    </a:cubicBezTo>
                    <a:cubicBezTo>
                      <a:pt x="943305" y="689089"/>
                      <a:pt x="941877" y="689802"/>
                      <a:pt x="941163" y="690514"/>
                    </a:cubicBezTo>
                    <a:cubicBezTo>
                      <a:pt x="939735" y="691227"/>
                      <a:pt x="939020" y="691940"/>
                      <a:pt x="937592" y="692652"/>
                    </a:cubicBezTo>
                    <a:cubicBezTo>
                      <a:pt x="936878" y="693365"/>
                      <a:pt x="935450" y="693365"/>
                      <a:pt x="934736" y="694077"/>
                    </a:cubicBezTo>
                    <a:cubicBezTo>
                      <a:pt x="933308" y="694790"/>
                      <a:pt x="932594" y="695503"/>
                      <a:pt x="931166" y="696215"/>
                    </a:cubicBezTo>
                    <a:cubicBezTo>
                      <a:pt x="929737" y="696928"/>
                      <a:pt x="929023" y="697640"/>
                      <a:pt x="928309" y="697640"/>
                    </a:cubicBezTo>
                    <a:cubicBezTo>
                      <a:pt x="926881" y="698353"/>
                      <a:pt x="925453" y="699066"/>
                      <a:pt x="924025" y="699778"/>
                    </a:cubicBezTo>
                    <a:cubicBezTo>
                      <a:pt x="923311" y="700491"/>
                      <a:pt x="921882" y="701203"/>
                      <a:pt x="921168" y="701203"/>
                    </a:cubicBezTo>
                    <a:cubicBezTo>
                      <a:pt x="919740" y="701916"/>
                      <a:pt x="918312" y="702629"/>
                      <a:pt x="917598" y="703341"/>
                    </a:cubicBezTo>
                    <a:cubicBezTo>
                      <a:pt x="916170" y="703341"/>
                      <a:pt x="915456" y="704054"/>
                      <a:pt x="914028" y="704767"/>
                    </a:cubicBezTo>
                    <a:cubicBezTo>
                      <a:pt x="912599" y="704767"/>
                      <a:pt x="911171" y="705479"/>
                      <a:pt x="910457" y="706192"/>
                    </a:cubicBezTo>
                    <a:cubicBezTo>
                      <a:pt x="909029" y="706192"/>
                      <a:pt x="908315" y="706904"/>
                      <a:pt x="906887" y="706904"/>
                    </a:cubicBezTo>
                    <a:cubicBezTo>
                      <a:pt x="905459" y="707617"/>
                      <a:pt x="904030" y="708330"/>
                      <a:pt x="902602" y="708330"/>
                    </a:cubicBezTo>
                    <a:cubicBezTo>
                      <a:pt x="901888" y="709042"/>
                      <a:pt x="900460" y="709042"/>
                      <a:pt x="899746" y="709755"/>
                    </a:cubicBezTo>
                    <a:cubicBezTo>
                      <a:pt x="898318" y="709755"/>
                      <a:pt x="896890" y="710467"/>
                      <a:pt x="896175" y="710467"/>
                    </a:cubicBezTo>
                    <a:cubicBezTo>
                      <a:pt x="894747" y="711180"/>
                      <a:pt x="894033" y="711180"/>
                      <a:pt x="892605" y="711893"/>
                    </a:cubicBezTo>
                    <a:cubicBezTo>
                      <a:pt x="891177" y="711893"/>
                      <a:pt x="889749" y="712605"/>
                      <a:pt x="888321" y="712605"/>
                    </a:cubicBezTo>
                    <a:cubicBezTo>
                      <a:pt x="887606" y="712605"/>
                      <a:pt x="886178" y="713318"/>
                      <a:pt x="885464" y="713318"/>
                    </a:cubicBezTo>
                    <a:cubicBezTo>
                      <a:pt x="883322" y="713318"/>
                      <a:pt x="881894" y="714030"/>
                      <a:pt x="880466" y="714030"/>
                    </a:cubicBezTo>
                    <a:cubicBezTo>
                      <a:pt x="879752" y="714030"/>
                      <a:pt x="878323" y="714743"/>
                      <a:pt x="877609" y="714743"/>
                    </a:cubicBezTo>
                    <a:cubicBezTo>
                      <a:pt x="875467" y="714743"/>
                      <a:pt x="874039" y="715456"/>
                      <a:pt x="872611" y="715456"/>
                    </a:cubicBezTo>
                    <a:cubicBezTo>
                      <a:pt x="871897" y="715456"/>
                      <a:pt x="870468" y="715456"/>
                      <a:pt x="869754" y="715456"/>
                    </a:cubicBezTo>
                    <a:cubicBezTo>
                      <a:pt x="867612" y="716168"/>
                      <a:pt x="866184" y="716168"/>
                      <a:pt x="864042" y="716168"/>
                    </a:cubicBezTo>
                    <a:cubicBezTo>
                      <a:pt x="863328" y="716168"/>
                      <a:pt x="862614" y="716168"/>
                      <a:pt x="861185" y="716168"/>
                    </a:cubicBezTo>
                    <a:cubicBezTo>
                      <a:pt x="859043" y="716168"/>
                      <a:pt x="856187" y="716168"/>
                      <a:pt x="854044" y="716168"/>
                    </a:cubicBezTo>
                    <a:cubicBezTo>
                      <a:pt x="853330" y="716168"/>
                      <a:pt x="853330" y="716168"/>
                      <a:pt x="853330" y="716168"/>
                    </a:cubicBezTo>
                    <a:cubicBezTo>
                      <a:pt x="850474" y="716168"/>
                      <a:pt x="848332" y="716168"/>
                      <a:pt x="846190" y="716168"/>
                    </a:cubicBezTo>
                    <a:cubicBezTo>
                      <a:pt x="845475" y="716168"/>
                      <a:pt x="844047" y="716168"/>
                      <a:pt x="843333" y="716168"/>
                    </a:cubicBezTo>
                    <a:cubicBezTo>
                      <a:pt x="841905" y="716168"/>
                      <a:pt x="839763" y="716168"/>
                      <a:pt x="838335" y="715456"/>
                    </a:cubicBezTo>
                    <a:cubicBezTo>
                      <a:pt x="837621" y="715456"/>
                      <a:pt x="836906" y="715456"/>
                      <a:pt x="836192" y="715456"/>
                    </a:cubicBezTo>
                    <a:cubicBezTo>
                      <a:pt x="833336" y="715456"/>
                      <a:pt x="831194" y="714743"/>
                      <a:pt x="829052" y="714743"/>
                    </a:cubicBezTo>
                    <a:cubicBezTo>
                      <a:pt x="828337" y="714743"/>
                      <a:pt x="827623" y="714743"/>
                      <a:pt x="827623" y="714743"/>
                    </a:cubicBezTo>
                    <a:cubicBezTo>
                      <a:pt x="825481" y="714030"/>
                      <a:pt x="823339" y="714030"/>
                      <a:pt x="821911" y="713318"/>
                    </a:cubicBezTo>
                    <a:cubicBezTo>
                      <a:pt x="821197" y="713318"/>
                      <a:pt x="819768" y="713318"/>
                      <a:pt x="819054" y="712605"/>
                    </a:cubicBezTo>
                    <a:cubicBezTo>
                      <a:pt x="817626" y="712605"/>
                      <a:pt x="816198" y="711893"/>
                      <a:pt x="814770" y="711893"/>
                    </a:cubicBezTo>
                    <a:cubicBezTo>
                      <a:pt x="814056" y="711893"/>
                      <a:pt x="812628" y="711180"/>
                      <a:pt x="811914" y="711180"/>
                    </a:cubicBezTo>
                    <a:cubicBezTo>
                      <a:pt x="809771" y="710467"/>
                      <a:pt x="807629" y="709755"/>
                      <a:pt x="805487" y="709042"/>
                    </a:cubicBezTo>
                    <a:cubicBezTo>
                      <a:pt x="804773" y="709042"/>
                      <a:pt x="804059" y="709042"/>
                      <a:pt x="802630" y="708330"/>
                    </a:cubicBezTo>
                    <a:cubicBezTo>
                      <a:pt x="801916" y="708330"/>
                      <a:pt x="800488" y="707617"/>
                      <a:pt x="799060" y="706904"/>
                    </a:cubicBezTo>
                    <a:cubicBezTo>
                      <a:pt x="797632" y="706904"/>
                      <a:pt x="796918" y="706192"/>
                      <a:pt x="795490" y="706192"/>
                    </a:cubicBezTo>
                    <a:cubicBezTo>
                      <a:pt x="794776" y="705479"/>
                      <a:pt x="793347" y="704767"/>
                      <a:pt x="792633" y="704767"/>
                    </a:cubicBezTo>
                    <a:cubicBezTo>
                      <a:pt x="791205" y="704054"/>
                      <a:pt x="790491" y="704054"/>
                      <a:pt x="789063" y="703341"/>
                    </a:cubicBezTo>
                    <a:cubicBezTo>
                      <a:pt x="787635" y="702629"/>
                      <a:pt x="786207" y="701916"/>
                      <a:pt x="784778" y="701203"/>
                    </a:cubicBezTo>
                    <a:cubicBezTo>
                      <a:pt x="783350" y="700491"/>
                      <a:pt x="781922" y="699778"/>
                      <a:pt x="780494" y="699066"/>
                    </a:cubicBezTo>
                    <a:cubicBezTo>
                      <a:pt x="779780" y="699066"/>
                      <a:pt x="778352" y="698353"/>
                      <a:pt x="777638" y="697640"/>
                    </a:cubicBezTo>
                    <a:cubicBezTo>
                      <a:pt x="776923" y="696928"/>
                      <a:pt x="775495" y="696215"/>
                      <a:pt x="774067" y="696215"/>
                    </a:cubicBezTo>
                    <a:cubicBezTo>
                      <a:pt x="773353" y="695503"/>
                      <a:pt x="772639" y="694790"/>
                      <a:pt x="771925" y="694790"/>
                    </a:cubicBezTo>
                    <a:cubicBezTo>
                      <a:pt x="769069" y="692652"/>
                      <a:pt x="766212" y="691227"/>
                      <a:pt x="763356" y="689089"/>
                    </a:cubicBezTo>
                    <a:cubicBezTo>
                      <a:pt x="761928" y="691227"/>
                      <a:pt x="759785" y="692652"/>
                      <a:pt x="757643" y="694790"/>
                    </a:cubicBezTo>
                    <a:cubicBezTo>
                      <a:pt x="755501" y="696928"/>
                      <a:pt x="753359" y="698353"/>
                      <a:pt x="751216" y="699778"/>
                    </a:cubicBezTo>
                    <a:cubicBezTo>
                      <a:pt x="751216" y="699778"/>
                      <a:pt x="751216" y="700491"/>
                      <a:pt x="750502" y="700491"/>
                    </a:cubicBezTo>
                    <a:cubicBezTo>
                      <a:pt x="749074" y="701916"/>
                      <a:pt x="746932" y="703341"/>
                      <a:pt x="744790" y="704767"/>
                    </a:cubicBezTo>
                    <a:cubicBezTo>
                      <a:pt x="744790" y="704767"/>
                      <a:pt x="744076" y="704767"/>
                      <a:pt x="744076" y="705479"/>
                    </a:cubicBezTo>
                    <a:cubicBezTo>
                      <a:pt x="741933" y="706904"/>
                      <a:pt x="739791" y="707617"/>
                      <a:pt x="738363" y="709042"/>
                    </a:cubicBezTo>
                    <a:cubicBezTo>
                      <a:pt x="737649" y="709755"/>
                      <a:pt x="736935" y="709755"/>
                      <a:pt x="736935" y="709755"/>
                    </a:cubicBezTo>
                    <a:cubicBezTo>
                      <a:pt x="734792" y="711180"/>
                      <a:pt x="733364" y="712605"/>
                      <a:pt x="731222" y="713318"/>
                    </a:cubicBezTo>
                    <a:cubicBezTo>
                      <a:pt x="730508" y="714030"/>
                      <a:pt x="729794" y="714030"/>
                      <a:pt x="729080" y="714743"/>
                    </a:cubicBezTo>
                    <a:cubicBezTo>
                      <a:pt x="727652" y="715456"/>
                      <a:pt x="725509" y="716168"/>
                      <a:pt x="724081" y="717593"/>
                    </a:cubicBezTo>
                    <a:cubicBezTo>
                      <a:pt x="723367" y="717593"/>
                      <a:pt x="722653" y="718306"/>
                      <a:pt x="721939" y="718306"/>
                    </a:cubicBezTo>
                    <a:cubicBezTo>
                      <a:pt x="719797" y="719731"/>
                      <a:pt x="718369" y="720444"/>
                      <a:pt x="716226" y="721156"/>
                    </a:cubicBezTo>
                    <a:cubicBezTo>
                      <a:pt x="715512" y="721869"/>
                      <a:pt x="714798" y="721869"/>
                      <a:pt x="714084" y="722582"/>
                    </a:cubicBezTo>
                    <a:cubicBezTo>
                      <a:pt x="711942" y="723294"/>
                      <a:pt x="710514" y="724007"/>
                      <a:pt x="708371" y="724719"/>
                    </a:cubicBezTo>
                    <a:cubicBezTo>
                      <a:pt x="707657" y="724719"/>
                      <a:pt x="706943" y="725432"/>
                      <a:pt x="706229" y="725432"/>
                    </a:cubicBezTo>
                    <a:cubicBezTo>
                      <a:pt x="704087" y="726145"/>
                      <a:pt x="702659" y="726857"/>
                      <a:pt x="700516" y="727570"/>
                    </a:cubicBezTo>
                    <a:cubicBezTo>
                      <a:pt x="699802" y="727570"/>
                      <a:pt x="698374" y="728282"/>
                      <a:pt x="697660" y="728282"/>
                    </a:cubicBezTo>
                    <a:cubicBezTo>
                      <a:pt x="696232" y="728995"/>
                      <a:pt x="694090" y="729708"/>
                      <a:pt x="692662" y="730420"/>
                    </a:cubicBezTo>
                    <a:cubicBezTo>
                      <a:pt x="691233" y="730420"/>
                      <a:pt x="690519" y="731133"/>
                      <a:pt x="689091" y="731133"/>
                    </a:cubicBezTo>
                    <a:cubicBezTo>
                      <a:pt x="687663" y="731846"/>
                      <a:pt x="686235" y="731846"/>
                      <a:pt x="684093" y="732558"/>
                    </a:cubicBezTo>
                    <a:cubicBezTo>
                      <a:pt x="683378" y="732558"/>
                      <a:pt x="681950" y="733271"/>
                      <a:pt x="680522" y="733271"/>
                    </a:cubicBezTo>
                    <a:cubicBezTo>
                      <a:pt x="679094" y="733983"/>
                      <a:pt x="677666" y="733983"/>
                      <a:pt x="675524" y="734696"/>
                    </a:cubicBezTo>
                    <a:cubicBezTo>
                      <a:pt x="674095" y="734696"/>
                      <a:pt x="672667" y="734696"/>
                      <a:pt x="671239" y="735409"/>
                    </a:cubicBezTo>
                    <a:cubicBezTo>
                      <a:pt x="669811" y="735409"/>
                      <a:pt x="668383" y="735409"/>
                      <a:pt x="666955" y="736121"/>
                    </a:cubicBezTo>
                    <a:cubicBezTo>
                      <a:pt x="665526" y="736121"/>
                      <a:pt x="664098" y="736121"/>
                      <a:pt x="662670" y="736834"/>
                    </a:cubicBezTo>
                    <a:cubicBezTo>
                      <a:pt x="661242" y="736834"/>
                      <a:pt x="659814" y="736834"/>
                      <a:pt x="658386" y="736834"/>
                    </a:cubicBezTo>
                    <a:cubicBezTo>
                      <a:pt x="656243" y="737546"/>
                      <a:pt x="654815" y="737546"/>
                      <a:pt x="652673" y="737546"/>
                    </a:cubicBezTo>
                    <a:cubicBezTo>
                      <a:pt x="651245" y="737546"/>
                      <a:pt x="650531" y="737546"/>
                      <a:pt x="649102" y="737546"/>
                    </a:cubicBezTo>
                    <a:cubicBezTo>
                      <a:pt x="646246" y="737546"/>
                      <a:pt x="643390" y="738259"/>
                      <a:pt x="640533" y="738259"/>
                    </a:cubicBezTo>
                    <a:cubicBezTo>
                      <a:pt x="636963" y="738259"/>
                      <a:pt x="634107" y="737546"/>
                      <a:pt x="631250" y="737546"/>
                    </a:cubicBezTo>
                    <a:cubicBezTo>
                      <a:pt x="629822" y="737546"/>
                      <a:pt x="628394" y="737546"/>
                      <a:pt x="627680" y="737546"/>
                    </a:cubicBezTo>
                    <a:cubicBezTo>
                      <a:pt x="625538" y="737546"/>
                      <a:pt x="624109" y="736834"/>
                      <a:pt x="621967" y="736834"/>
                    </a:cubicBezTo>
                    <a:cubicBezTo>
                      <a:pt x="620539" y="736834"/>
                      <a:pt x="619111" y="736834"/>
                      <a:pt x="617683" y="736121"/>
                    </a:cubicBezTo>
                    <a:cubicBezTo>
                      <a:pt x="616255" y="736121"/>
                      <a:pt x="614826" y="736121"/>
                      <a:pt x="613398" y="736121"/>
                    </a:cubicBezTo>
                    <a:cubicBezTo>
                      <a:pt x="611256" y="735409"/>
                      <a:pt x="609828" y="735409"/>
                      <a:pt x="607686" y="734696"/>
                    </a:cubicBezTo>
                    <a:cubicBezTo>
                      <a:pt x="606257" y="734696"/>
                      <a:pt x="605543" y="734696"/>
                      <a:pt x="604115" y="733983"/>
                    </a:cubicBezTo>
                    <a:cubicBezTo>
                      <a:pt x="602687" y="733983"/>
                      <a:pt x="600545" y="733271"/>
                      <a:pt x="598402" y="733271"/>
                    </a:cubicBezTo>
                    <a:cubicBezTo>
                      <a:pt x="597688" y="732558"/>
                      <a:pt x="596260" y="732558"/>
                      <a:pt x="595546" y="732558"/>
                    </a:cubicBezTo>
                    <a:cubicBezTo>
                      <a:pt x="593404" y="731846"/>
                      <a:pt x="591262" y="731133"/>
                      <a:pt x="589119" y="730420"/>
                    </a:cubicBezTo>
                    <a:cubicBezTo>
                      <a:pt x="588405" y="730420"/>
                      <a:pt x="587691" y="730420"/>
                      <a:pt x="586977" y="729708"/>
                    </a:cubicBezTo>
                    <a:cubicBezTo>
                      <a:pt x="584835" y="728995"/>
                      <a:pt x="582693" y="728282"/>
                      <a:pt x="580550" y="727570"/>
                    </a:cubicBezTo>
                    <a:cubicBezTo>
                      <a:pt x="579836" y="727570"/>
                      <a:pt x="579836" y="727570"/>
                      <a:pt x="579122" y="727570"/>
                    </a:cubicBezTo>
                    <a:cubicBezTo>
                      <a:pt x="576980" y="726145"/>
                      <a:pt x="574124" y="725432"/>
                      <a:pt x="571981" y="724719"/>
                    </a:cubicBezTo>
                    <a:cubicBezTo>
                      <a:pt x="571981" y="724719"/>
                      <a:pt x="571267" y="724007"/>
                      <a:pt x="570553" y="724007"/>
                    </a:cubicBezTo>
                    <a:cubicBezTo>
                      <a:pt x="568411" y="723294"/>
                      <a:pt x="566269" y="721869"/>
                      <a:pt x="564126" y="721156"/>
                    </a:cubicBezTo>
                    <a:cubicBezTo>
                      <a:pt x="563412" y="721156"/>
                      <a:pt x="563412" y="720444"/>
                      <a:pt x="562698" y="720444"/>
                    </a:cubicBezTo>
                    <a:cubicBezTo>
                      <a:pt x="560556" y="719731"/>
                      <a:pt x="558414" y="718306"/>
                      <a:pt x="555557" y="716881"/>
                    </a:cubicBezTo>
                    <a:cubicBezTo>
                      <a:pt x="552701" y="715456"/>
                      <a:pt x="550559" y="714030"/>
                      <a:pt x="548417" y="712605"/>
                    </a:cubicBezTo>
                    <a:cubicBezTo>
                      <a:pt x="548417" y="712605"/>
                      <a:pt x="548417" y="712605"/>
                      <a:pt x="547703" y="712605"/>
                    </a:cubicBezTo>
                    <a:cubicBezTo>
                      <a:pt x="545560" y="711180"/>
                      <a:pt x="543418" y="709755"/>
                      <a:pt x="540562" y="708330"/>
                    </a:cubicBezTo>
                    <a:cubicBezTo>
                      <a:pt x="531279" y="701916"/>
                      <a:pt x="521996" y="694790"/>
                      <a:pt x="514141" y="686951"/>
                    </a:cubicBezTo>
                    <a:cubicBezTo>
                      <a:pt x="511284" y="689802"/>
                      <a:pt x="509142" y="692652"/>
                      <a:pt x="506286" y="695503"/>
                    </a:cubicBezTo>
                    <a:cubicBezTo>
                      <a:pt x="506286" y="695503"/>
                      <a:pt x="506286" y="695503"/>
                      <a:pt x="505572" y="695503"/>
                    </a:cubicBezTo>
                    <a:cubicBezTo>
                      <a:pt x="503429" y="698353"/>
                      <a:pt x="500573" y="701203"/>
                      <a:pt x="497717" y="704054"/>
                    </a:cubicBezTo>
                    <a:cubicBezTo>
                      <a:pt x="497717" y="704054"/>
                      <a:pt x="497717" y="704054"/>
                      <a:pt x="497003" y="704054"/>
                    </a:cubicBezTo>
                    <a:cubicBezTo>
                      <a:pt x="489862" y="711180"/>
                      <a:pt x="482721" y="717593"/>
                      <a:pt x="474152" y="723294"/>
                    </a:cubicBezTo>
                    <a:cubicBezTo>
                      <a:pt x="473438" y="724007"/>
                      <a:pt x="472724" y="724007"/>
                      <a:pt x="472724" y="724719"/>
                    </a:cubicBezTo>
                    <a:cubicBezTo>
                      <a:pt x="469867" y="726145"/>
                      <a:pt x="467725" y="728282"/>
                      <a:pt x="464869" y="729708"/>
                    </a:cubicBezTo>
                    <a:cubicBezTo>
                      <a:pt x="464155" y="730420"/>
                      <a:pt x="462727" y="731133"/>
                      <a:pt x="462012" y="731846"/>
                    </a:cubicBezTo>
                    <a:cubicBezTo>
                      <a:pt x="459870" y="733271"/>
                      <a:pt x="457728" y="733983"/>
                      <a:pt x="455586" y="735409"/>
                    </a:cubicBezTo>
                    <a:cubicBezTo>
                      <a:pt x="454158" y="736121"/>
                      <a:pt x="452729" y="736834"/>
                      <a:pt x="452015" y="737546"/>
                    </a:cubicBezTo>
                    <a:cubicBezTo>
                      <a:pt x="449873" y="738972"/>
                      <a:pt x="448445" y="739684"/>
                      <a:pt x="446303" y="740397"/>
                    </a:cubicBezTo>
                    <a:cubicBezTo>
                      <a:pt x="444874" y="741109"/>
                      <a:pt x="442732" y="742535"/>
                      <a:pt x="441304" y="743247"/>
                    </a:cubicBezTo>
                    <a:cubicBezTo>
                      <a:pt x="439876" y="743960"/>
                      <a:pt x="438448" y="744672"/>
                      <a:pt x="437734" y="745385"/>
                    </a:cubicBezTo>
                    <a:cubicBezTo>
                      <a:pt x="434877" y="746098"/>
                      <a:pt x="432735" y="747523"/>
                      <a:pt x="430593" y="748235"/>
                    </a:cubicBezTo>
                    <a:cubicBezTo>
                      <a:pt x="429165" y="748948"/>
                      <a:pt x="428451" y="748948"/>
                      <a:pt x="427022" y="749661"/>
                    </a:cubicBezTo>
                    <a:cubicBezTo>
                      <a:pt x="424166" y="750373"/>
                      <a:pt x="422024" y="751798"/>
                      <a:pt x="419167" y="752511"/>
                    </a:cubicBezTo>
                    <a:cubicBezTo>
                      <a:pt x="418453" y="753224"/>
                      <a:pt x="417739" y="753224"/>
                      <a:pt x="416311" y="753936"/>
                    </a:cubicBezTo>
                    <a:cubicBezTo>
                      <a:pt x="414169" y="754649"/>
                      <a:pt x="411313" y="755361"/>
                      <a:pt x="408456" y="756787"/>
                    </a:cubicBezTo>
                    <a:cubicBezTo>
                      <a:pt x="407742" y="756787"/>
                      <a:pt x="407028" y="756787"/>
                      <a:pt x="406314" y="756787"/>
                    </a:cubicBezTo>
                    <a:cubicBezTo>
                      <a:pt x="403458" y="758212"/>
                      <a:pt x="400601" y="758925"/>
                      <a:pt x="397745" y="759637"/>
                    </a:cubicBezTo>
                    <a:cubicBezTo>
                      <a:pt x="397031" y="759637"/>
                      <a:pt x="397031" y="759637"/>
                      <a:pt x="396317" y="759637"/>
                    </a:cubicBezTo>
                    <a:cubicBezTo>
                      <a:pt x="392746" y="761062"/>
                      <a:pt x="389890" y="761775"/>
                      <a:pt x="387034" y="761775"/>
                    </a:cubicBezTo>
                    <a:cubicBezTo>
                      <a:pt x="386320" y="762488"/>
                      <a:pt x="385606" y="762488"/>
                      <a:pt x="384891" y="762488"/>
                    </a:cubicBezTo>
                    <a:cubicBezTo>
                      <a:pt x="381321" y="763200"/>
                      <a:pt x="378465" y="763913"/>
                      <a:pt x="374894" y="763913"/>
                    </a:cubicBezTo>
                    <a:cubicBezTo>
                      <a:pt x="374180" y="764625"/>
                      <a:pt x="374180" y="764625"/>
                      <a:pt x="373466" y="764625"/>
                    </a:cubicBezTo>
                    <a:cubicBezTo>
                      <a:pt x="369896" y="765338"/>
                      <a:pt x="366325" y="765338"/>
                      <a:pt x="363469" y="766051"/>
                    </a:cubicBezTo>
                    <a:cubicBezTo>
                      <a:pt x="362755" y="766051"/>
                      <a:pt x="362041" y="766051"/>
                      <a:pt x="361327" y="766051"/>
                    </a:cubicBezTo>
                    <a:cubicBezTo>
                      <a:pt x="357756" y="766051"/>
                      <a:pt x="354900" y="766763"/>
                      <a:pt x="351329" y="766763"/>
                    </a:cubicBezTo>
                    <a:cubicBezTo>
                      <a:pt x="350615" y="766763"/>
                      <a:pt x="350615" y="766763"/>
                      <a:pt x="349901" y="766763"/>
                    </a:cubicBezTo>
                    <a:cubicBezTo>
                      <a:pt x="346331" y="766763"/>
                      <a:pt x="342760" y="766763"/>
                      <a:pt x="339190" y="766763"/>
                    </a:cubicBezTo>
                    <a:cubicBezTo>
                      <a:pt x="335620" y="766763"/>
                      <a:pt x="332049" y="766763"/>
                      <a:pt x="328479" y="766763"/>
                    </a:cubicBezTo>
                    <a:cubicBezTo>
                      <a:pt x="327765" y="766763"/>
                      <a:pt x="327051" y="766763"/>
                      <a:pt x="326337" y="766763"/>
                    </a:cubicBezTo>
                    <a:cubicBezTo>
                      <a:pt x="322766" y="766763"/>
                      <a:pt x="319196" y="766051"/>
                      <a:pt x="315625" y="766051"/>
                    </a:cubicBezTo>
                    <a:cubicBezTo>
                      <a:pt x="314911" y="766051"/>
                      <a:pt x="314911" y="766051"/>
                      <a:pt x="314197" y="766051"/>
                    </a:cubicBezTo>
                    <a:cubicBezTo>
                      <a:pt x="311341" y="765338"/>
                      <a:pt x="307770" y="765338"/>
                      <a:pt x="304914" y="764625"/>
                    </a:cubicBezTo>
                    <a:cubicBezTo>
                      <a:pt x="304200" y="764625"/>
                      <a:pt x="303486" y="764625"/>
                      <a:pt x="303486" y="764625"/>
                    </a:cubicBezTo>
                    <a:cubicBezTo>
                      <a:pt x="299915" y="763913"/>
                      <a:pt x="296345" y="763200"/>
                      <a:pt x="293489" y="762488"/>
                    </a:cubicBezTo>
                    <a:cubicBezTo>
                      <a:pt x="292775" y="762488"/>
                      <a:pt x="292061" y="762488"/>
                      <a:pt x="291346" y="761775"/>
                    </a:cubicBezTo>
                    <a:cubicBezTo>
                      <a:pt x="287776" y="761775"/>
                      <a:pt x="284920" y="761062"/>
                      <a:pt x="281349" y="759637"/>
                    </a:cubicBezTo>
                    <a:cubicBezTo>
                      <a:pt x="277779" y="758925"/>
                      <a:pt x="274923" y="758212"/>
                      <a:pt x="271352" y="756787"/>
                    </a:cubicBezTo>
                    <a:cubicBezTo>
                      <a:pt x="270638" y="756787"/>
                      <a:pt x="270638" y="756787"/>
                      <a:pt x="269924" y="756074"/>
                    </a:cubicBezTo>
                    <a:cubicBezTo>
                      <a:pt x="267068" y="755361"/>
                      <a:pt x="263497" y="754649"/>
                      <a:pt x="260641" y="753224"/>
                    </a:cubicBezTo>
                    <a:cubicBezTo>
                      <a:pt x="259927" y="753224"/>
                      <a:pt x="259927" y="752511"/>
                      <a:pt x="259213" y="752511"/>
                    </a:cubicBezTo>
                    <a:cubicBezTo>
                      <a:pt x="256356" y="751798"/>
                      <a:pt x="253500" y="750373"/>
                      <a:pt x="251358" y="749661"/>
                    </a:cubicBezTo>
                    <a:cubicBezTo>
                      <a:pt x="250644" y="748948"/>
                      <a:pt x="249930" y="748948"/>
                      <a:pt x="249216" y="748948"/>
                    </a:cubicBezTo>
                    <a:cubicBezTo>
                      <a:pt x="246359" y="747523"/>
                      <a:pt x="243503" y="746098"/>
                      <a:pt x="240646" y="744672"/>
                    </a:cubicBezTo>
                    <a:cubicBezTo>
                      <a:pt x="239932" y="744672"/>
                      <a:pt x="239218" y="743960"/>
                      <a:pt x="238504" y="743960"/>
                    </a:cubicBezTo>
                    <a:cubicBezTo>
                      <a:pt x="235648" y="742535"/>
                      <a:pt x="232792" y="741109"/>
                      <a:pt x="230649" y="739684"/>
                    </a:cubicBezTo>
                    <a:cubicBezTo>
                      <a:pt x="229935" y="739684"/>
                      <a:pt x="229935" y="738972"/>
                      <a:pt x="229221" y="738972"/>
                    </a:cubicBezTo>
                    <a:cubicBezTo>
                      <a:pt x="226365" y="737546"/>
                      <a:pt x="223508" y="736121"/>
                      <a:pt x="221366" y="734696"/>
                    </a:cubicBezTo>
                    <a:cubicBezTo>
                      <a:pt x="220652" y="733983"/>
                      <a:pt x="219224" y="733271"/>
                      <a:pt x="218510" y="733271"/>
                    </a:cubicBezTo>
                    <a:cubicBezTo>
                      <a:pt x="216368" y="731133"/>
                      <a:pt x="213511" y="729708"/>
                      <a:pt x="211369" y="728282"/>
                    </a:cubicBezTo>
                    <a:cubicBezTo>
                      <a:pt x="210655" y="727570"/>
                      <a:pt x="209941" y="726857"/>
                      <a:pt x="209227" y="726857"/>
                    </a:cubicBezTo>
                    <a:cubicBezTo>
                      <a:pt x="207085" y="725432"/>
                      <a:pt x="204942" y="724007"/>
                      <a:pt x="202800" y="722582"/>
                    </a:cubicBezTo>
                    <a:cubicBezTo>
                      <a:pt x="202086" y="721869"/>
                      <a:pt x="201372" y="721156"/>
                      <a:pt x="200658" y="720444"/>
                    </a:cubicBezTo>
                    <a:cubicBezTo>
                      <a:pt x="198516" y="719019"/>
                      <a:pt x="195659" y="716881"/>
                      <a:pt x="193517" y="715456"/>
                    </a:cubicBezTo>
                    <a:cubicBezTo>
                      <a:pt x="192803" y="714743"/>
                      <a:pt x="192089" y="714030"/>
                      <a:pt x="191375" y="713318"/>
                    </a:cubicBezTo>
                    <a:cubicBezTo>
                      <a:pt x="189232" y="711893"/>
                      <a:pt x="187090" y="709755"/>
                      <a:pt x="185662" y="708330"/>
                    </a:cubicBezTo>
                    <a:cubicBezTo>
                      <a:pt x="184948" y="707617"/>
                      <a:pt x="184234" y="707617"/>
                      <a:pt x="184234" y="706904"/>
                    </a:cubicBezTo>
                    <a:cubicBezTo>
                      <a:pt x="182092" y="704767"/>
                      <a:pt x="179949" y="702629"/>
                      <a:pt x="177807" y="700491"/>
                    </a:cubicBezTo>
                    <a:cubicBezTo>
                      <a:pt x="177093" y="699778"/>
                      <a:pt x="175665" y="699066"/>
                      <a:pt x="174951" y="698353"/>
                    </a:cubicBezTo>
                    <a:cubicBezTo>
                      <a:pt x="173523" y="696215"/>
                      <a:pt x="171380" y="694077"/>
                      <a:pt x="169238" y="691940"/>
                    </a:cubicBezTo>
                    <a:cubicBezTo>
                      <a:pt x="168524" y="691227"/>
                      <a:pt x="167810" y="690514"/>
                      <a:pt x="167096" y="689802"/>
                    </a:cubicBezTo>
                    <a:cubicBezTo>
                      <a:pt x="165668" y="688377"/>
                      <a:pt x="164240" y="686239"/>
                      <a:pt x="162811" y="684814"/>
                    </a:cubicBezTo>
                    <a:cubicBezTo>
                      <a:pt x="162097" y="684101"/>
                      <a:pt x="161383" y="683388"/>
                      <a:pt x="160669" y="682676"/>
                    </a:cubicBezTo>
                    <a:cubicBezTo>
                      <a:pt x="158527" y="679825"/>
                      <a:pt x="157099" y="677688"/>
                      <a:pt x="154956" y="675550"/>
                    </a:cubicBezTo>
                    <a:cubicBezTo>
                      <a:pt x="154956" y="674837"/>
                      <a:pt x="154242" y="674125"/>
                      <a:pt x="153528" y="672699"/>
                    </a:cubicBezTo>
                    <a:cubicBezTo>
                      <a:pt x="152100" y="671274"/>
                      <a:pt x="150672" y="669136"/>
                      <a:pt x="149244" y="666998"/>
                    </a:cubicBezTo>
                    <a:cubicBezTo>
                      <a:pt x="148530" y="666286"/>
                      <a:pt x="148530" y="665573"/>
                      <a:pt x="147816" y="664861"/>
                    </a:cubicBezTo>
                    <a:cubicBezTo>
                      <a:pt x="144959" y="664148"/>
                      <a:pt x="142103" y="662723"/>
                      <a:pt x="139247" y="662010"/>
                    </a:cubicBezTo>
                    <a:cubicBezTo>
                      <a:pt x="137818" y="661298"/>
                      <a:pt x="137104" y="661298"/>
                      <a:pt x="135676" y="660585"/>
                    </a:cubicBezTo>
                    <a:cubicBezTo>
                      <a:pt x="134248" y="659872"/>
                      <a:pt x="132106" y="659160"/>
                      <a:pt x="129964" y="658447"/>
                    </a:cubicBezTo>
                    <a:cubicBezTo>
                      <a:pt x="129249" y="658447"/>
                      <a:pt x="127821" y="657735"/>
                      <a:pt x="127107" y="657022"/>
                    </a:cubicBezTo>
                    <a:cubicBezTo>
                      <a:pt x="124965" y="656309"/>
                      <a:pt x="122823" y="655597"/>
                      <a:pt x="121394" y="654884"/>
                    </a:cubicBezTo>
                    <a:cubicBezTo>
                      <a:pt x="119966" y="654172"/>
                      <a:pt x="119252" y="653459"/>
                      <a:pt x="117824" y="653459"/>
                    </a:cubicBezTo>
                    <a:cubicBezTo>
                      <a:pt x="116396" y="652034"/>
                      <a:pt x="114254" y="651321"/>
                      <a:pt x="112111" y="649896"/>
                    </a:cubicBezTo>
                    <a:cubicBezTo>
                      <a:pt x="111397" y="649896"/>
                      <a:pt x="110683" y="649183"/>
                      <a:pt x="109969" y="649183"/>
                    </a:cubicBezTo>
                    <a:cubicBezTo>
                      <a:pt x="107113" y="647758"/>
                      <a:pt x="104256" y="646333"/>
                      <a:pt x="102114" y="644195"/>
                    </a:cubicBezTo>
                    <a:cubicBezTo>
                      <a:pt x="101400" y="644195"/>
                      <a:pt x="99972" y="643482"/>
                      <a:pt x="99258" y="642770"/>
                    </a:cubicBezTo>
                    <a:cubicBezTo>
                      <a:pt x="97830" y="642057"/>
                      <a:pt x="95687" y="640632"/>
                      <a:pt x="94259" y="639207"/>
                    </a:cubicBezTo>
                    <a:cubicBezTo>
                      <a:pt x="92831" y="639207"/>
                      <a:pt x="92117" y="638494"/>
                      <a:pt x="91403" y="637782"/>
                    </a:cubicBezTo>
                    <a:cubicBezTo>
                      <a:pt x="89261" y="636356"/>
                      <a:pt x="87833" y="635644"/>
                      <a:pt x="86404" y="634219"/>
                    </a:cubicBezTo>
                    <a:cubicBezTo>
                      <a:pt x="84976" y="633506"/>
                      <a:pt x="84262" y="632793"/>
                      <a:pt x="83548" y="632081"/>
                    </a:cubicBezTo>
                    <a:cubicBezTo>
                      <a:pt x="81406" y="630656"/>
                      <a:pt x="79978" y="629230"/>
                      <a:pt x="78549" y="628518"/>
                    </a:cubicBezTo>
                    <a:cubicBezTo>
                      <a:pt x="77835" y="627805"/>
                      <a:pt x="77121" y="627093"/>
                      <a:pt x="76407" y="626380"/>
                    </a:cubicBezTo>
                    <a:cubicBezTo>
                      <a:pt x="73551" y="624242"/>
                      <a:pt x="71409" y="622817"/>
                      <a:pt x="69266" y="620679"/>
                    </a:cubicBezTo>
                    <a:cubicBezTo>
                      <a:pt x="68552" y="619967"/>
                      <a:pt x="68552" y="619254"/>
                      <a:pt x="67838" y="619254"/>
                    </a:cubicBezTo>
                    <a:cubicBezTo>
                      <a:pt x="65696" y="617829"/>
                      <a:pt x="64268" y="615691"/>
                      <a:pt x="62126" y="614266"/>
                    </a:cubicBezTo>
                    <a:cubicBezTo>
                      <a:pt x="61411" y="613553"/>
                      <a:pt x="60697" y="612840"/>
                      <a:pt x="59983" y="612128"/>
                    </a:cubicBezTo>
                    <a:cubicBezTo>
                      <a:pt x="58555" y="610703"/>
                      <a:pt x="57127" y="609277"/>
                      <a:pt x="55699" y="607140"/>
                    </a:cubicBezTo>
                    <a:cubicBezTo>
                      <a:pt x="54985" y="606427"/>
                      <a:pt x="54271" y="605714"/>
                      <a:pt x="53557" y="605002"/>
                    </a:cubicBezTo>
                    <a:cubicBezTo>
                      <a:pt x="52128" y="603577"/>
                      <a:pt x="50700" y="602151"/>
                      <a:pt x="49272" y="600014"/>
                    </a:cubicBezTo>
                    <a:cubicBezTo>
                      <a:pt x="48558" y="599301"/>
                      <a:pt x="47844" y="598588"/>
                      <a:pt x="47844" y="597876"/>
                    </a:cubicBezTo>
                    <a:cubicBezTo>
                      <a:pt x="45702" y="595738"/>
                      <a:pt x="43559" y="593600"/>
                      <a:pt x="42131" y="590750"/>
                    </a:cubicBezTo>
                    <a:cubicBezTo>
                      <a:pt x="42131" y="590750"/>
                      <a:pt x="42131" y="590750"/>
                      <a:pt x="41417" y="590750"/>
                    </a:cubicBezTo>
                    <a:cubicBezTo>
                      <a:pt x="39989" y="587899"/>
                      <a:pt x="37847" y="585761"/>
                      <a:pt x="36419" y="582911"/>
                    </a:cubicBezTo>
                    <a:cubicBezTo>
                      <a:pt x="35704" y="582198"/>
                      <a:pt x="34990" y="581486"/>
                      <a:pt x="34990" y="580773"/>
                    </a:cubicBezTo>
                    <a:cubicBezTo>
                      <a:pt x="33562" y="578635"/>
                      <a:pt x="32134" y="577210"/>
                      <a:pt x="31420" y="575072"/>
                    </a:cubicBezTo>
                    <a:cubicBezTo>
                      <a:pt x="30706" y="574360"/>
                      <a:pt x="29992" y="573647"/>
                      <a:pt x="29278" y="572222"/>
                    </a:cubicBezTo>
                    <a:cubicBezTo>
                      <a:pt x="28564" y="570797"/>
                      <a:pt x="27135" y="568659"/>
                      <a:pt x="26421" y="567234"/>
                    </a:cubicBezTo>
                    <a:cubicBezTo>
                      <a:pt x="25707" y="566521"/>
                      <a:pt x="25707" y="565096"/>
                      <a:pt x="24993" y="564383"/>
                    </a:cubicBezTo>
                    <a:cubicBezTo>
                      <a:pt x="23565" y="562246"/>
                      <a:pt x="22851" y="560108"/>
                      <a:pt x="21423" y="557970"/>
                    </a:cubicBezTo>
                    <a:cubicBezTo>
                      <a:pt x="21423" y="557257"/>
                      <a:pt x="20709" y="556545"/>
                      <a:pt x="20709" y="555832"/>
                    </a:cubicBezTo>
                    <a:cubicBezTo>
                      <a:pt x="19281" y="552982"/>
                      <a:pt x="17852" y="550131"/>
                      <a:pt x="16424" y="547281"/>
                    </a:cubicBezTo>
                    <a:cubicBezTo>
                      <a:pt x="16424" y="546568"/>
                      <a:pt x="16424" y="545856"/>
                      <a:pt x="15710" y="545143"/>
                    </a:cubicBezTo>
                    <a:cubicBezTo>
                      <a:pt x="14996" y="543005"/>
                      <a:pt x="14282" y="540867"/>
                      <a:pt x="13568" y="538730"/>
                    </a:cubicBezTo>
                    <a:cubicBezTo>
                      <a:pt x="12854" y="538017"/>
                      <a:pt x="12140" y="536592"/>
                      <a:pt x="12140" y="535879"/>
                    </a:cubicBezTo>
                    <a:cubicBezTo>
                      <a:pt x="11426" y="533741"/>
                      <a:pt x="10712" y="531604"/>
                      <a:pt x="9997" y="530178"/>
                    </a:cubicBezTo>
                    <a:cubicBezTo>
                      <a:pt x="9997" y="528753"/>
                      <a:pt x="9283" y="528040"/>
                      <a:pt x="9283" y="526615"/>
                    </a:cubicBezTo>
                    <a:cubicBezTo>
                      <a:pt x="8569" y="524477"/>
                      <a:pt x="7855" y="522340"/>
                      <a:pt x="7141" y="520202"/>
                    </a:cubicBezTo>
                    <a:cubicBezTo>
                      <a:pt x="7141" y="519489"/>
                      <a:pt x="6427" y="518064"/>
                      <a:pt x="6427" y="517351"/>
                    </a:cubicBezTo>
                    <a:cubicBezTo>
                      <a:pt x="5713" y="514501"/>
                      <a:pt x="4999" y="511651"/>
                      <a:pt x="4285" y="508088"/>
                    </a:cubicBezTo>
                    <a:cubicBezTo>
                      <a:pt x="4285" y="507375"/>
                      <a:pt x="4285" y="507375"/>
                      <a:pt x="4285" y="506662"/>
                    </a:cubicBezTo>
                    <a:cubicBezTo>
                      <a:pt x="3571" y="503812"/>
                      <a:pt x="2857" y="501674"/>
                      <a:pt x="2857" y="498824"/>
                    </a:cubicBezTo>
                    <a:cubicBezTo>
                      <a:pt x="2143" y="497398"/>
                      <a:pt x="2143" y="496686"/>
                      <a:pt x="2143" y="495261"/>
                    </a:cubicBezTo>
                    <a:cubicBezTo>
                      <a:pt x="2143" y="493123"/>
                      <a:pt x="1428" y="490985"/>
                      <a:pt x="1428" y="488847"/>
                    </a:cubicBezTo>
                    <a:cubicBezTo>
                      <a:pt x="1428" y="488135"/>
                      <a:pt x="714" y="486709"/>
                      <a:pt x="714" y="485284"/>
                    </a:cubicBezTo>
                    <a:cubicBezTo>
                      <a:pt x="714" y="483146"/>
                      <a:pt x="714" y="481009"/>
                      <a:pt x="714" y="478871"/>
                    </a:cubicBezTo>
                    <a:cubicBezTo>
                      <a:pt x="0" y="478158"/>
                      <a:pt x="0" y="476733"/>
                      <a:pt x="0" y="476020"/>
                    </a:cubicBezTo>
                    <a:cubicBezTo>
                      <a:pt x="0" y="472457"/>
                      <a:pt x="0" y="468894"/>
                      <a:pt x="0" y="466044"/>
                    </a:cubicBezTo>
                    <a:cubicBezTo>
                      <a:pt x="0" y="361291"/>
                      <a:pt x="77835" y="274353"/>
                      <a:pt x="179949" y="260101"/>
                    </a:cubicBezTo>
                    <a:cubicBezTo>
                      <a:pt x="179949" y="252262"/>
                      <a:pt x="179235" y="244424"/>
                      <a:pt x="179235" y="235872"/>
                    </a:cubicBezTo>
                    <a:cubicBezTo>
                      <a:pt x="179235" y="105466"/>
                      <a:pt x="285634" y="0"/>
                      <a:pt x="417739" y="0"/>
                    </a:cubicBezTo>
                    <a:close/>
                  </a:path>
                </a:pathLst>
              </a:custGeom>
              <a:solidFill>
                <a:srgbClr val="2D716B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1800" b="0" i="0" u="none" strike="noStrike" kern="1200" cap="none" spc="0" normalizeH="0" baseline="0" noProof="0">
                  <a:ln>
                    <a:noFill/>
                  </a:ln>
                  <a:solidFill>
                    <a:srgbClr val="575757"/>
                  </a:solidFill>
                  <a:effectLst/>
                  <a:uLnTx/>
                  <a:uFillTx/>
                  <a:latin typeface="+mj-lt"/>
                </a:endParaRPr>
              </a:p>
            </p:txBody>
          </p:sp>
        </p:grpSp>
      </p:grpSp>
      <p:grpSp>
        <p:nvGrpSpPr>
          <p:cNvPr id="118" name="bcgIcons_Atmospheric CO2">
            <a:extLst>
              <a:ext uri="{FF2B5EF4-FFF2-40B4-BE49-F238E27FC236}">
                <a16:creationId xmlns:a16="http://schemas.microsoft.com/office/drawing/2014/main" id="{3F1A9794-7FFB-F778-AA4A-10C42D9A4F98}"/>
              </a:ext>
            </a:extLst>
          </p:cNvPr>
          <p:cNvGrpSpPr>
            <a:grpSpLocks noChangeAspect="1"/>
          </p:cNvGrpSpPr>
          <p:nvPr/>
        </p:nvGrpSpPr>
        <p:grpSpPr>
          <a:xfrm>
            <a:off x="3238502" y="2458949"/>
            <a:ext cx="468715" cy="479921"/>
            <a:chOff x="5273675" y="2638326"/>
            <a:chExt cx="1644650" cy="1644650"/>
          </a:xfrm>
        </p:grpSpPr>
        <p:sp>
          <p:nvSpPr>
            <p:cNvPr id="119" name="AutoShape 9">
              <a:extLst>
                <a:ext uri="{FF2B5EF4-FFF2-40B4-BE49-F238E27FC236}">
                  <a16:creationId xmlns:a16="http://schemas.microsoft.com/office/drawing/2014/main" id="{F123D111-3FA2-3B51-AA39-B16338C57B61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5273675" y="2638326"/>
              <a:ext cx="1644650" cy="16446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News Gothic MT"/>
                <a:ea typeface="+mn-ea"/>
                <a:cs typeface="+mn-cs"/>
              </a:endParaRPr>
            </a:p>
          </p:txBody>
        </p:sp>
        <p:grpSp>
          <p:nvGrpSpPr>
            <p:cNvPr id="120" name="Group 63">
              <a:extLst>
                <a:ext uri="{FF2B5EF4-FFF2-40B4-BE49-F238E27FC236}">
                  <a16:creationId xmlns:a16="http://schemas.microsoft.com/office/drawing/2014/main" id="{A1F545FF-9F46-AD24-1EB8-16FD0104DFA0}"/>
                </a:ext>
              </a:extLst>
            </p:cNvPr>
            <p:cNvGrpSpPr/>
            <p:nvPr/>
          </p:nvGrpSpPr>
          <p:grpSpPr>
            <a:xfrm>
              <a:off x="5449888" y="2982913"/>
              <a:ext cx="1292225" cy="892175"/>
              <a:chOff x="5449888" y="2982913"/>
              <a:chExt cx="1292225" cy="892175"/>
            </a:xfrm>
          </p:grpSpPr>
          <p:sp>
            <p:nvSpPr>
              <p:cNvPr id="121" name="Freeform 5">
                <a:extLst>
                  <a:ext uri="{FF2B5EF4-FFF2-40B4-BE49-F238E27FC236}">
                    <a16:creationId xmlns:a16="http://schemas.microsoft.com/office/drawing/2014/main" id="{C450BCE7-CF78-F892-7B9F-1A24319C83D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49888" y="2982913"/>
                <a:ext cx="1292225" cy="892175"/>
              </a:xfrm>
              <a:custGeom>
                <a:avLst/>
                <a:gdLst>
                  <a:gd name="connsiteX0" fmla="*/ 479562 w 1292225"/>
                  <a:gd name="connsiteY0" fmla="*/ 30162 h 892175"/>
                  <a:gd name="connsiteX1" fmla="*/ 209494 w 1292225"/>
                  <a:gd name="connsiteY1" fmla="*/ 297440 h 892175"/>
                  <a:gd name="connsiteX2" fmla="*/ 89463 w 1292225"/>
                  <a:gd name="connsiteY2" fmla="*/ 371049 h 892175"/>
                  <a:gd name="connsiteX3" fmla="*/ 30162 w 1292225"/>
                  <a:gd name="connsiteY3" fmla="*/ 528986 h 892175"/>
                  <a:gd name="connsiteX4" fmla="*/ 30162 w 1292225"/>
                  <a:gd name="connsiteY4" fmla="*/ 540421 h 892175"/>
                  <a:gd name="connsiteX5" fmla="*/ 30877 w 1292225"/>
                  <a:gd name="connsiteY5" fmla="*/ 543279 h 892175"/>
                  <a:gd name="connsiteX6" fmla="*/ 30877 w 1292225"/>
                  <a:gd name="connsiteY6" fmla="*/ 543994 h 892175"/>
                  <a:gd name="connsiteX7" fmla="*/ 30877 w 1292225"/>
                  <a:gd name="connsiteY7" fmla="*/ 551855 h 892175"/>
                  <a:gd name="connsiteX8" fmla="*/ 31591 w 1292225"/>
                  <a:gd name="connsiteY8" fmla="*/ 555428 h 892175"/>
                  <a:gd name="connsiteX9" fmla="*/ 32306 w 1292225"/>
                  <a:gd name="connsiteY9" fmla="*/ 563289 h 892175"/>
                  <a:gd name="connsiteX10" fmla="*/ 33020 w 1292225"/>
                  <a:gd name="connsiteY10" fmla="*/ 564004 h 892175"/>
                  <a:gd name="connsiteX11" fmla="*/ 33020 w 1292225"/>
                  <a:gd name="connsiteY11" fmla="*/ 566863 h 892175"/>
                  <a:gd name="connsiteX12" fmla="*/ 34449 w 1292225"/>
                  <a:gd name="connsiteY12" fmla="*/ 575438 h 892175"/>
                  <a:gd name="connsiteX13" fmla="*/ 35164 w 1292225"/>
                  <a:gd name="connsiteY13" fmla="*/ 577582 h 892175"/>
                  <a:gd name="connsiteX14" fmla="*/ 37307 w 1292225"/>
                  <a:gd name="connsiteY14" fmla="*/ 588302 h 892175"/>
                  <a:gd name="connsiteX15" fmla="*/ 38021 w 1292225"/>
                  <a:gd name="connsiteY15" fmla="*/ 590446 h 892175"/>
                  <a:gd name="connsiteX16" fmla="*/ 38736 w 1292225"/>
                  <a:gd name="connsiteY16" fmla="*/ 591161 h 892175"/>
                  <a:gd name="connsiteX17" fmla="*/ 40879 w 1292225"/>
                  <a:gd name="connsiteY17" fmla="*/ 599022 h 892175"/>
                  <a:gd name="connsiteX18" fmla="*/ 41594 w 1292225"/>
                  <a:gd name="connsiteY18" fmla="*/ 602595 h 892175"/>
                  <a:gd name="connsiteX19" fmla="*/ 44452 w 1292225"/>
                  <a:gd name="connsiteY19" fmla="*/ 609741 h 892175"/>
                  <a:gd name="connsiteX20" fmla="*/ 44452 w 1292225"/>
                  <a:gd name="connsiteY20" fmla="*/ 610456 h 892175"/>
                  <a:gd name="connsiteX21" fmla="*/ 45166 w 1292225"/>
                  <a:gd name="connsiteY21" fmla="*/ 613315 h 892175"/>
                  <a:gd name="connsiteX22" fmla="*/ 48024 w 1292225"/>
                  <a:gd name="connsiteY22" fmla="*/ 620461 h 892175"/>
                  <a:gd name="connsiteX23" fmla="*/ 48738 w 1292225"/>
                  <a:gd name="connsiteY23" fmla="*/ 621176 h 892175"/>
                  <a:gd name="connsiteX24" fmla="*/ 49453 w 1292225"/>
                  <a:gd name="connsiteY24" fmla="*/ 623320 h 892175"/>
                  <a:gd name="connsiteX25" fmla="*/ 53740 w 1292225"/>
                  <a:gd name="connsiteY25" fmla="*/ 633325 h 892175"/>
                  <a:gd name="connsiteX26" fmla="*/ 55169 w 1292225"/>
                  <a:gd name="connsiteY26" fmla="*/ 634754 h 892175"/>
                  <a:gd name="connsiteX27" fmla="*/ 58741 w 1292225"/>
                  <a:gd name="connsiteY27" fmla="*/ 642615 h 892175"/>
                  <a:gd name="connsiteX28" fmla="*/ 60170 w 1292225"/>
                  <a:gd name="connsiteY28" fmla="*/ 645474 h 892175"/>
                  <a:gd name="connsiteX29" fmla="*/ 60884 w 1292225"/>
                  <a:gd name="connsiteY29" fmla="*/ 645474 h 892175"/>
                  <a:gd name="connsiteX30" fmla="*/ 64457 w 1292225"/>
                  <a:gd name="connsiteY30" fmla="*/ 651906 h 892175"/>
                  <a:gd name="connsiteX31" fmla="*/ 66600 w 1292225"/>
                  <a:gd name="connsiteY31" fmla="*/ 655479 h 892175"/>
                  <a:gd name="connsiteX32" fmla="*/ 70172 w 1292225"/>
                  <a:gd name="connsiteY32" fmla="*/ 661196 h 892175"/>
                  <a:gd name="connsiteX33" fmla="*/ 70887 w 1292225"/>
                  <a:gd name="connsiteY33" fmla="*/ 661911 h 892175"/>
                  <a:gd name="connsiteX34" fmla="*/ 72316 w 1292225"/>
                  <a:gd name="connsiteY34" fmla="*/ 664055 h 892175"/>
                  <a:gd name="connsiteX35" fmla="*/ 78032 w 1292225"/>
                  <a:gd name="connsiteY35" fmla="*/ 672630 h 892175"/>
                  <a:gd name="connsiteX36" fmla="*/ 78746 w 1292225"/>
                  <a:gd name="connsiteY36" fmla="*/ 673345 h 892175"/>
                  <a:gd name="connsiteX37" fmla="*/ 85176 w 1292225"/>
                  <a:gd name="connsiteY37" fmla="*/ 681206 h 892175"/>
                  <a:gd name="connsiteX38" fmla="*/ 86605 w 1292225"/>
                  <a:gd name="connsiteY38" fmla="*/ 683350 h 892175"/>
                  <a:gd name="connsiteX39" fmla="*/ 87320 w 1292225"/>
                  <a:gd name="connsiteY39" fmla="*/ 684065 h 892175"/>
                  <a:gd name="connsiteX40" fmla="*/ 91606 w 1292225"/>
                  <a:gd name="connsiteY40" fmla="*/ 689067 h 892175"/>
                  <a:gd name="connsiteX41" fmla="*/ 94464 w 1292225"/>
                  <a:gd name="connsiteY41" fmla="*/ 691926 h 892175"/>
                  <a:gd name="connsiteX42" fmla="*/ 99466 w 1292225"/>
                  <a:gd name="connsiteY42" fmla="*/ 697643 h 892175"/>
                  <a:gd name="connsiteX43" fmla="*/ 100180 w 1292225"/>
                  <a:gd name="connsiteY43" fmla="*/ 697643 h 892175"/>
                  <a:gd name="connsiteX44" fmla="*/ 102323 w 1292225"/>
                  <a:gd name="connsiteY44" fmla="*/ 699787 h 892175"/>
                  <a:gd name="connsiteX45" fmla="*/ 108039 w 1292225"/>
                  <a:gd name="connsiteY45" fmla="*/ 705504 h 892175"/>
                  <a:gd name="connsiteX46" fmla="*/ 108754 w 1292225"/>
                  <a:gd name="connsiteY46" fmla="*/ 706219 h 892175"/>
                  <a:gd name="connsiteX47" fmla="*/ 109468 w 1292225"/>
                  <a:gd name="connsiteY47" fmla="*/ 706934 h 892175"/>
                  <a:gd name="connsiteX48" fmla="*/ 118042 w 1292225"/>
                  <a:gd name="connsiteY48" fmla="*/ 714080 h 892175"/>
                  <a:gd name="connsiteX49" fmla="*/ 119471 w 1292225"/>
                  <a:gd name="connsiteY49" fmla="*/ 715509 h 892175"/>
                  <a:gd name="connsiteX50" fmla="*/ 120185 w 1292225"/>
                  <a:gd name="connsiteY50" fmla="*/ 716224 h 892175"/>
                  <a:gd name="connsiteX51" fmla="*/ 125901 w 1292225"/>
                  <a:gd name="connsiteY51" fmla="*/ 720512 h 892175"/>
                  <a:gd name="connsiteX52" fmla="*/ 128759 w 1292225"/>
                  <a:gd name="connsiteY52" fmla="*/ 722656 h 892175"/>
                  <a:gd name="connsiteX53" fmla="*/ 129473 w 1292225"/>
                  <a:gd name="connsiteY53" fmla="*/ 723370 h 892175"/>
                  <a:gd name="connsiteX54" fmla="*/ 135189 w 1292225"/>
                  <a:gd name="connsiteY54" fmla="*/ 726944 h 892175"/>
                  <a:gd name="connsiteX55" fmla="*/ 135189 w 1292225"/>
                  <a:gd name="connsiteY55" fmla="*/ 727658 h 892175"/>
                  <a:gd name="connsiteX56" fmla="*/ 138047 w 1292225"/>
                  <a:gd name="connsiteY56" fmla="*/ 729088 h 892175"/>
                  <a:gd name="connsiteX57" fmla="*/ 144477 w 1292225"/>
                  <a:gd name="connsiteY57" fmla="*/ 733376 h 892175"/>
                  <a:gd name="connsiteX58" fmla="*/ 145192 w 1292225"/>
                  <a:gd name="connsiteY58" fmla="*/ 733376 h 892175"/>
                  <a:gd name="connsiteX59" fmla="*/ 147335 w 1292225"/>
                  <a:gd name="connsiteY59" fmla="*/ 734805 h 892175"/>
                  <a:gd name="connsiteX60" fmla="*/ 156623 w 1292225"/>
                  <a:gd name="connsiteY60" fmla="*/ 739807 h 892175"/>
                  <a:gd name="connsiteX61" fmla="*/ 158766 w 1292225"/>
                  <a:gd name="connsiteY61" fmla="*/ 741237 h 892175"/>
                  <a:gd name="connsiteX62" fmla="*/ 165911 w 1292225"/>
                  <a:gd name="connsiteY62" fmla="*/ 744810 h 892175"/>
                  <a:gd name="connsiteX63" fmla="*/ 168769 w 1292225"/>
                  <a:gd name="connsiteY63" fmla="*/ 746239 h 892175"/>
                  <a:gd name="connsiteX64" fmla="*/ 169483 w 1292225"/>
                  <a:gd name="connsiteY64" fmla="*/ 746954 h 892175"/>
                  <a:gd name="connsiteX65" fmla="*/ 175914 w 1292225"/>
                  <a:gd name="connsiteY65" fmla="*/ 749812 h 892175"/>
                  <a:gd name="connsiteX66" fmla="*/ 180200 w 1292225"/>
                  <a:gd name="connsiteY66" fmla="*/ 751242 h 892175"/>
                  <a:gd name="connsiteX67" fmla="*/ 186631 w 1292225"/>
                  <a:gd name="connsiteY67" fmla="*/ 754100 h 892175"/>
                  <a:gd name="connsiteX68" fmla="*/ 187345 w 1292225"/>
                  <a:gd name="connsiteY68" fmla="*/ 754100 h 892175"/>
                  <a:gd name="connsiteX69" fmla="*/ 189488 w 1292225"/>
                  <a:gd name="connsiteY69" fmla="*/ 754815 h 892175"/>
                  <a:gd name="connsiteX70" fmla="*/ 191632 w 1292225"/>
                  <a:gd name="connsiteY70" fmla="*/ 757674 h 892175"/>
                  <a:gd name="connsiteX71" fmla="*/ 198062 w 1292225"/>
                  <a:gd name="connsiteY71" fmla="*/ 765535 h 892175"/>
                  <a:gd name="connsiteX72" fmla="*/ 199491 w 1292225"/>
                  <a:gd name="connsiteY72" fmla="*/ 767679 h 892175"/>
                  <a:gd name="connsiteX73" fmla="*/ 200206 w 1292225"/>
                  <a:gd name="connsiteY73" fmla="*/ 768393 h 892175"/>
                  <a:gd name="connsiteX74" fmla="*/ 205921 w 1292225"/>
                  <a:gd name="connsiteY74" fmla="*/ 774825 h 892175"/>
                  <a:gd name="connsiteX75" fmla="*/ 207350 w 1292225"/>
                  <a:gd name="connsiteY75" fmla="*/ 776969 h 892175"/>
                  <a:gd name="connsiteX76" fmla="*/ 214495 w 1292225"/>
                  <a:gd name="connsiteY76" fmla="*/ 784116 h 892175"/>
                  <a:gd name="connsiteX77" fmla="*/ 217353 w 1292225"/>
                  <a:gd name="connsiteY77" fmla="*/ 786974 h 892175"/>
                  <a:gd name="connsiteX78" fmla="*/ 224497 w 1292225"/>
                  <a:gd name="connsiteY78" fmla="*/ 793406 h 892175"/>
                  <a:gd name="connsiteX79" fmla="*/ 225926 w 1292225"/>
                  <a:gd name="connsiteY79" fmla="*/ 795550 h 892175"/>
                  <a:gd name="connsiteX80" fmla="*/ 233071 w 1292225"/>
                  <a:gd name="connsiteY80" fmla="*/ 801267 h 892175"/>
                  <a:gd name="connsiteX81" fmla="*/ 235214 w 1292225"/>
                  <a:gd name="connsiteY81" fmla="*/ 803411 h 892175"/>
                  <a:gd name="connsiteX82" fmla="*/ 243788 w 1292225"/>
                  <a:gd name="connsiteY82" fmla="*/ 809128 h 892175"/>
                  <a:gd name="connsiteX83" fmla="*/ 245217 w 1292225"/>
                  <a:gd name="connsiteY83" fmla="*/ 810558 h 892175"/>
                  <a:gd name="connsiteX84" fmla="*/ 245931 w 1292225"/>
                  <a:gd name="connsiteY84" fmla="*/ 811272 h 892175"/>
                  <a:gd name="connsiteX85" fmla="*/ 253076 w 1292225"/>
                  <a:gd name="connsiteY85" fmla="*/ 816275 h 892175"/>
                  <a:gd name="connsiteX86" fmla="*/ 255219 w 1292225"/>
                  <a:gd name="connsiteY86" fmla="*/ 817704 h 892175"/>
                  <a:gd name="connsiteX87" fmla="*/ 263793 w 1292225"/>
                  <a:gd name="connsiteY87" fmla="*/ 823421 h 892175"/>
                  <a:gd name="connsiteX88" fmla="*/ 266651 w 1292225"/>
                  <a:gd name="connsiteY88" fmla="*/ 824850 h 892175"/>
                  <a:gd name="connsiteX89" fmla="*/ 275939 w 1292225"/>
                  <a:gd name="connsiteY89" fmla="*/ 830568 h 892175"/>
                  <a:gd name="connsiteX90" fmla="*/ 277368 w 1292225"/>
                  <a:gd name="connsiteY90" fmla="*/ 831282 h 892175"/>
                  <a:gd name="connsiteX91" fmla="*/ 285942 w 1292225"/>
                  <a:gd name="connsiteY91" fmla="*/ 835570 h 892175"/>
                  <a:gd name="connsiteX92" fmla="*/ 288799 w 1292225"/>
                  <a:gd name="connsiteY92" fmla="*/ 836999 h 892175"/>
                  <a:gd name="connsiteX93" fmla="*/ 298802 w 1292225"/>
                  <a:gd name="connsiteY93" fmla="*/ 841287 h 892175"/>
                  <a:gd name="connsiteX94" fmla="*/ 300945 w 1292225"/>
                  <a:gd name="connsiteY94" fmla="*/ 842002 h 892175"/>
                  <a:gd name="connsiteX95" fmla="*/ 309519 w 1292225"/>
                  <a:gd name="connsiteY95" fmla="*/ 845575 h 892175"/>
                  <a:gd name="connsiteX96" fmla="*/ 311662 w 1292225"/>
                  <a:gd name="connsiteY96" fmla="*/ 846290 h 892175"/>
                  <a:gd name="connsiteX97" fmla="*/ 322379 w 1292225"/>
                  <a:gd name="connsiteY97" fmla="*/ 849863 h 892175"/>
                  <a:gd name="connsiteX98" fmla="*/ 324523 w 1292225"/>
                  <a:gd name="connsiteY98" fmla="*/ 850578 h 892175"/>
                  <a:gd name="connsiteX99" fmla="*/ 335240 w 1292225"/>
                  <a:gd name="connsiteY99" fmla="*/ 854151 h 892175"/>
                  <a:gd name="connsiteX100" fmla="*/ 336669 w 1292225"/>
                  <a:gd name="connsiteY100" fmla="*/ 854151 h 892175"/>
                  <a:gd name="connsiteX101" fmla="*/ 347386 w 1292225"/>
                  <a:gd name="connsiteY101" fmla="*/ 857010 h 892175"/>
                  <a:gd name="connsiteX102" fmla="*/ 349529 w 1292225"/>
                  <a:gd name="connsiteY102" fmla="*/ 857010 h 892175"/>
                  <a:gd name="connsiteX103" fmla="*/ 360961 w 1292225"/>
                  <a:gd name="connsiteY103" fmla="*/ 859154 h 892175"/>
                  <a:gd name="connsiteX104" fmla="*/ 363104 w 1292225"/>
                  <a:gd name="connsiteY104" fmla="*/ 859154 h 892175"/>
                  <a:gd name="connsiteX105" fmla="*/ 373107 w 1292225"/>
                  <a:gd name="connsiteY105" fmla="*/ 860583 h 892175"/>
                  <a:gd name="connsiteX106" fmla="*/ 375250 w 1292225"/>
                  <a:gd name="connsiteY106" fmla="*/ 861298 h 892175"/>
                  <a:gd name="connsiteX107" fmla="*/ 386682 w 1292225"/>
                  <a:gd name="connsiteY107" fmla="*/ 862012 h 892175"/>
                  <a:gd name="connsiteX108" fmla="*/ 389539 w 1292225"/>
                  <a:gd name="connsiteY108" fmla="*/ 862012 h 892175"/>
                  <a:gd name="connsiteX109" fmla="*/ 401685 w 1292225"/>
                  <a:gd name="connsiteY109" fmla="*/ 862012 h 892175"/>
                  <a:gd name="connsiteX110" fmla="*/ 414546 w 1292225"/>
                  <a:gd name="connsiteY110" fmla="*/ 862012 h 892175"/>
                  <a:gd name="connsiteX111" fmla="*/ 415260 w 1292225"/>
                  <a:gd name="connsiteY111" fmla="*/ 862012 h 892175"/>
                  <a:gd name="connsiteX112" fmla="*/ 425977 w 1292225"/>
                  <a:gd name="connsiteY112" fmla="*/ 861298 h 892175"/>
                  <a:gd name="connsiteX113" fmla="*/ 428121 w 1292225"/>
                  <a:gd name="connsiteY113" fmla="*/ 860583 h 892175"/>
                  <a:gd name="connsiteX114" fmla="*/ 439552 w 1292225"/>
                  <a:gd name="connsiteY114" fmla="*/ 859154 h 892175"/>
                  <a:gd name="connsiteX115" fmla="*/ 441696 w 1292225"/>
                  <a:gd name="connsiteY115" fmla="*/ 859154 h 892175"/>
                  <a:gd name="connsiteX116" fmla="*/ 452413 w 1292225"/>
                  <a:gd name="connsiteY116" fmla="*/ 857010 h 892175"/>
                  <a:gd name="connsiteX117" fmla="*/ 455270 w 1292225"/>
                  <a:gd name="connsiteY117" fmla="*/ 857010 h 892175"/>
                  <a:gd name="connsiteX118" fmla="*/ 465987 w 1292225"/>
                  <a:gd name="connsiteY118" fmla="*/ 854151 h 892175"/>
                  <a:gd name="connsiteX119" fmla="*/ 468131 w 1292225"/>
                  <a:gd name="connsiteY119" fmla="*/ 853436 h 892175"/>
                  <a:gd name="connsiteX120" fmla="*/ 477419 w 1292225"/>
                  <a:gd name="connsiteY120" fmla="*/ 851292 h 892175"/>
                  <a:gd name="connsiteX121" fmla="*/ 479562 w 1292225"/>
                  <a:gd name="connsiteY121" fmla="*/ 849863 h 892175"/>
                  <a:gd name="connsiteX122" fmla="*/ 488850 w 1292225"/>
                  <a:gd name="connsiteY122" fmla="*/ 847005 h 892175"/>
                  <a:gd name="connsiteX123" fmla="*/ 489565 w 1292225"/>
                  <a:gd name="connsiteY123" fmla="*/ 847005 h 892175"/>
                  <a:gd name="connsiteX124" fmla="*/ 492423 w 1292225"/>
                  <a:gd name="connsiteY124" fmla="*/ 845575 h 892175"/>
                  <a:gd name="connsiteX125" fmla="*/ 500996 w 1292225"/>
                  <a:gd name="connsiteY125" fmla="*/ 842717 h 892175"/>
                  <a:gd name="connsiteX126" fmla="*/ 504569 w 1292225"/>
                  <a:gd name="connsiteY126" fmla="*/ 840573 h 892175"/>
                  <a:gd name="connsiteX127" fmla="*/ 512428 w 1292225"/>
                  <a:gd name="connsiteY127" fmla="*/ 836999 h 892175"/>
                  <a:gd name="connsiteX128" fmla="*/ 516715 w 1292225"/>
                  <a:gd name="connsiteY128" fmla="*/ 834856 h 892175"/>
                  <a:gd name="connsiteX129" fmla="*/ 523145 w 1292225"/>
                  <a:gd name="connsiteY129" fmla="*/ 831997 h 892175"/>
                  <a:gd name="connsiteX130" fmla="*/ 528861 w 1292225"/>
                  <a:gd name="connsiteY130" fmla="*/ 829138 h 892175"/>
                  <a:gd name="connsiteX131" fmla="*/ 533147 w 1292225"/>
                  <a:gd name="connsiteY131" fmla="*/ 826280 h 892175"/>
                  <a:gd name="connsiteX132" fmla="*/ 541006 w 1292225"/>
                  <a:gd name="connsiteY132" fmla="*/ 821992 h 892175"/>
                  <a:gd name="connsiteX133" fmla="*/ 543864 w 1292225"/>
                  <a:gd name="connsiteY133" fmla="*/ 819848 h 892175"/>
                  <a:gd name="connsiteX134" fmla="*/ 552438 w 1292225"/>
                  <a:gd name="connsiteY134" fmla="*/ 814131 h 892175"/>
                  <a:gd name="connsiteX135" fmla="*/ 554581 w 1292225"/>
                  <a:gd name="connsiteY135" fmla="*/ 812701 h 892175"/>
                  <a:gd name="connsiteX136" fmla="*/ 578159 w 1292225"/>
                  <a:gd name="connsiteY136" fmla="*/ 793406 h 892175"/>
                  <a:gd name="connsiteX137" fmla="*/ 583875 w 1292225"/>
                  <a:gd name="connsiteY137" fmla="*/ 796979 h 892175"/>
                  <a:gd name="connsiteX138" fmla="*/ 585303 w 1292225"/>
                  <a:gd name="connsiteY138" fmla="*/ 798409 h 892175"/>
                  <a:gd name="connsiteX139" fmla="*/ 586732 w 1292225"/>
                  <a:gd name="connsiteY139" fmla="*/ 799123 h 892175"/>
                  <a:gd name="connsiteX140" fmla="*/ 593877 w 1292225"/>
                  <a:gd name="connsiteY140" fmla="*/ 803411 h 892175"/>
                  <a:gd name="connsiteX141" fmla="*/ 602451 w 1292225"/>
                  <a:gd name="connsiteY141" fmla="*/ 808414 h 892175"/>
                  <a:gd name="connsiteX142" fmla="*/ 603165 w 1292225"/>
                  <a:gd name="connsiteY142" fmla="*/ 808414 h 892175"/>
                  <a:gd name="connsiteX143" fmla="*/ 611739 w 1292225"/>
                  <a:gd name="connsiteY143" fmla="*/ 812701 h 892175"/>
                  <a:gd name="connsiteX144" fmla="*/ 612453 w 1292225"/>
                  <a:gd name="connsiteY144" fmla="*/ 813416 h 892175"/>
                  <a:gd name="connsiteX145" fmla="*/ 621027 w 1292225"/>
                  <a:gd name="connsiteY145" fmla="*/ 816989 h 892175"/>
                  <a:gd name="connsiteX146" fmla="*/ 622456 w 1292225"/>
                  <a:gd name="connsiteY146" fmla="*/ 817704 h 892175"/>
                  <a:gd name="connsiteX147" fmla="*/ 630315 w 1292225"/>
                  <a:gd name="connsiteY147" fmla="*/ 820563 h 892175"/>
                  <a:gd name="connsiteX148" fmla="*/ 632458 w 1292225"/>
                  <a:gd name="connsiteY148" fmla="*/ 821277 h 892175"/>
                  <a:gd name="connsiteX149" fmla="*/ 640317 w 1292225"/>
                  <a:gd name="connsiteY149" fmla="*/ 824136 h 892175"/>
                  <a:gd name="connsiteX150" fmla="*/ 641746 w 1292225"/>
                  <a:gd name="connsiteY150" fmla="*/ 824136 h 892175"/>
                  <a:gd name="connsiteX151" fmla="*/ 642461 w 1292225"/>
                  <a:gd name="connsiteY151" fmla="*/ 824850 h 892175"/>
                  <a:gd name="connsiteX152" fmla="*/ 649606 w 1292225"/>
                  <a:gd name="connsiteY152" fmla="*/ 826280 h 892175"/>
                  <a:gd name="connsiteX153" fmla="*/ 652463 w 1292225"/>
                  <a:gd name="connsiteY153" fmla="*/ 826994 h 892175"/>
                  <a:gd name="connsiteX154" fmla="*/ 653892 w 1292225"/>
                  <a:gd name="connsiteY154" fmla="*/ 827709 h 892175"/>
                  <a:gd name="connsiteX155" fmla="*/ 659608 w 1292225"/>
                  <a:gd name="connsiteY155" fmla="*/ 829138 h 892175"/>
                  <a:gd name="connsiteX156" fmla="*/ 663180 w 1292225"/>
                  <a:gd name="connsiteY156" fmla="*/ 829138 h 892175"/>
                  <a:gd name="connsiteX157" fmla="*/ 665324 w 1292225"/>
                  <a:gd name="connsiteY157" fmla="*/ 829853 h 892175"/>
                  <a:gd name="connsiteX158" fmla="*/ 670325 w 1292225"/>
                  <a:gd name="connsiteY158" fmla="*/ 830568 h 892175"/>
                  <a:gd name="connsiteX159" fmla="*/ 673897 w 1292225"/>
                  <a:gd name="connsiteY159" fmla="*/ 831282 h 892175"/>
                  <a:gd name="connsiteX160" fmla="*/ 676755 w 1292225"/>
                  <a:gd name="connsiteY160" fmla="*/ 831282 h 892175"/>
                  <a:gd name="connsiteX161" fmla="*/ 681042 w 1292225"/>
                  <a:gd name="connsiteY161" fmla="*/ 831997 h 892175"/>
                  <a:gd name="connsiteX162" fmla="*/ 686043 w 1292225"/>
                  <a:gd name="connsiteY162" fmla="*/ 832712 h 892175"/>
                  <a:gd name="connsiteX163" fmla="*/ 688187 w 1292225"/>
                  <a:gd name="connsiteY163" fmla="*/ 832712 h 892175"/>
                  <a:gd name="connsiteX164" fmla="*/ 691759 w 1292225"/>
                  <a:gd name="connsiteY164" fmla="*/ 832712 h 892175"/>
                  <a:gd name="connsiteX165" fmla="*/ 702476 w 1292225"/>
                  <a:gd name="connsiteY165" fmla="*/ 833426 h 892175"/>
                  <a:gd name="connsiteX166" fmla="*/ 712479 w 1292225"/>
                  <a:gd name="connsiteY166" fmla="*/ 832712 h 892175"/>
                  <a:gd name="connsiteX167" fmla="*/ 716051 w 1292225"/>
                  <a:gd name="connsiteY167" fmla="*/ 832712 h 892175"/>
                  <a:gd name="connsiteX168" fmla="*/ 717480 w 1292225"/>
                  <a:gd name="connsiteY168" fmla="*/ 832712 h 892175"/>
                  <a:gd name="connsiteX169" fmla="*/ 723196 w 1292225"/>
                  <a:gd name="connsiteY169" fmla="*/ 831997 h 892175"/>
                  <a:gd name="connsiteX170" fmla="*/ 726768 w 1292225"/>
                  <a:gd name="connsiteY170" fmla="*/ 831282 h 892175"/>
                  <a:gd name="connsiteX171" fmla="*/ 728911 w 1292225"/>
                  <a:gd name="connsiteY171" fmla="*/ 831282 h 892175"/>
                  <a:gd name="connsiteX172" fmla="*/ 733913 w 1292225"/>
                  <a:gd name="connsiteY172" fmla="*/ 830568 h 892175"/>
                  <a:gd name="connsiteX173" fmla="*/ 737485 w 1292225"/>
                  <a:gd name="connsiteY173" fmla="*/ 829853 h 892175"/>
                  <a:gd name="connsiteX174" fmla="*/ 739628 w 1292225"/>
                  <a:gd name="connsiteY174" fmla="*/ 829853 h 892175"/>
                  <a:gd name="connsiteX175" fmla="*/ 743915 w 1292225"/>
                  <a:gd name="connsiteY175" fmla="*/ 829138 h 892175"/>
                  <a:gd name="connsiteX176" fmla="*/ 748202 w 1292225"/>
                  <a:gd name="connsiteY176" fmla="*/ 827709 h 892175"/>
                  <a:gd name="connsiteX177" fmla="*/ 750345 w 1292225"/>
                  <a:gd name="connsiteY177" fmla="*/ 827709 h 892175"/>
                  <a:gd name="connsiteX178" fmla="*/ 753918 w 1292225"/>
                  <a:gd name="connsiteY178" fmla="*/ 826994 h 892175"/>
                  <a:gd name="connsiteX179" fmla="*/ 758919 w 1292225"/>
                  <a:gd name="connsiteY179" fmla="*/ 825565 h 892175"/>
                  <a:gd name="connsiteX180" fmla="*/ 760348 w 1292225"/>
                  <a:gd name="connsiteY180" fmla="*/ 824850 h 892175"/>
                  <a:gd name="connsiteX181" fmla="*/ 763920 w 1292225"/>
                  <a:gd name="connsiteY181" fmla="*/ 824136 h 892175"/>
                  <a:gd name="connsiteX182" fmla="*/ 769636 w 1292225"/>
                  <a:gd name="connsiteY182" fmla="*/ 821992 h 892175"/>
                  <a:gd name="connsiteX183" fmla="*/ 773208 w 1292225"/>
                  <a:gd name="connsiteY183" fmla="*/ 820563 h 892175"/>
                  <a:gd name="connsiteX184" fmla="*/ 778924 w 1292225"/>
                  <a:gd name="connsiteY184" fmla="*/ 818419 h 892175"/>
                  <a:gd name="connsiteX185" fmla="*/ 779639 w 1292225"/>
                  <a:gd name="connsiteY185" fmla="*/ 818419 h 892175"/>
                  <a:gd name="connsiteX186" fmla="*/ 782496 w 1292225"/>
                  <a:gd name="connsiteY186" fmla="*/ 816989 h 892175"/>
                  <a:gd name="connsiteX187" fmla="*/ 788927 w 1292225"/>
                  <a:gd name="connsiteY187" fmla="*/ 814845 h 892175"/>
                  <a:gd name="connsiteX188" fmla="*/ 791785 w 1292225"/>
                  <a:gd name="connsiteY188" fmla="*/ 813416 h 892175"/>
                  <a:gd name="connsiteX189" fmla="*/ 798215 w 1292225"/>
                  <a:gd name="connsiteY189" fmla="*/ 810558 h 892175"/>
                  <a:gd name="connsiteX190" fmla="*/ 800358 w 1292225"/>
                  <a:gd name="connsiteY190" fmla="*/ 809128 h 892175"/>
                  <a:gd name="connsiteX191" fmla="*/ 806788 w 1292225"/>
                  <a:gd name="connsiteY191" fmla="*/ 805555 h 892175"/>
                  <a:gd name="connsiteX192" fmla="*/ 808932 w 1292225"/>
                  <a:gd name="connsiteY192" fmla="*/ 804126 h 892175"/>
                  <a:gd name="connsiteX193" fmla="*/ 815362 w 1292225"/>
                  <a:gd name="connsiteY193" fmla="*/ 800552 h 892175"/>
                  <a:gd name="connsiteX194" fmla="*/ 817505 w 1292225"/>
                  <a:gd name="connsiteY194" fmla="*/ 799123 h 892175"/>
                  <a:gd name="connsiteX195" fmla="*/ 823936 w 1292225"/>
                  <a:gd name="connsiteY195" fmla="*/ 794835 h 892175"/>
                  <a:gd name="connsiteX196" fmla="*/ 825365 w 1292225"/>
                  <a:gd name="connsiteY196" fmla="*/ 794121 h 892175"/>
                  <a:gd name="connsiteX197" fmla="*/ 828937 w 1292225"/>
                  <a:gd name="connsiteY197" fmla="*/ 791262 h 892175"/>
                  <a:gd name="connsiteX198" fmla="*/ 833224 w 1292225"/>
                  <a:gd name="connsiteY198" fmla="*/ 793406 h 892175"/>
                  <a:gd name="connsiteX199" fmla="*/ 838939 w 1292225"/>
                  <a:gd name="connsiteY199" fmla="*/ 795550 h 892175"/>
                  <a:gd name="connsiteX200" fmla="*/ 841797 w 1292225"/>
                  <a:gd name="connsiteY200" fmla="*/ 796979 h 892175"/>
                  <a:gd name="connsiteX201" fmla="*/ 842512 w 1292225"/>
                  <a:gd name="connsiteY201" fmla="*/ 797694 h 892175"/>
                  <a:gd name="connsiteX202" fmla="*/ 846799 w 1292225"/>
                  <a:gd name="connsiteY202" fmla="*/ 799123 h 892175"/>
                  <a:gd name="connsiteX203" fmla="*/ 850371 w 1292225"/>
                  <a:gd name="connsiteY203" fmla="*/ 800552 h 892175"/>
                  <a:gd name="connsiteX204" fmla="*/ 855372 w 1292225"/>
                  <a:gd name="connsiteY204" fmla="*/ 801982 h 892175"/>
                  <a:gd name="connsiteX205" fmla="*/ 856087 w 1292225"/>
                  <a:gd name="connsiteY205" fmla="*/ 801982 h 892175"/>
                  <a:gd name="connsiteX206" fmla="*/ 858230 w 1292225"/>
                  <a:gd name="connsiteY206" fmla="*/ 802696 h 892175"/>
                  <a:gd name="connsiteX207" fmla="*/ 865375 w 1292225"/>
                  <a:gd name="connsiteY207" fmla="*/ 804840 h 892175"/>
                  <a:gd name="connsiteX208" fmla="*/ 868233 w 1292225"/>
                  <a:gd name="connsiteY208" fmla="*/ 805555 h 892175"/>
                  <a:gd name="connsiteX209" fmla="*/ 868233 w 1292225"/>
                  <a:gd name="connsiteY209" fmla="*/ 806270 h 892175"/>
                  <a:gd name="connsiteX210" fmla="*/ 873948 w 1292225"/>
                  <a:gd name="connsiteY210" fmla="*/ 806984 h 892175"/>
                  <a:gd name="connsiteX211" fmla="*/ 876806 w 1292225"/>
                  <a:gd name="connsiteY211" fmla="*/ 807699 h 892175"/>
                  <a:gd name="connsiteX212" fmla="*/ 883951 w 1292225"/>
                  <a:gd name="connsiteY212" fmla="*/ 809128 h 892175"/>
                  <a:gd name="connsiteX213" fmla="*/ 885380 w 1292225"/>
                  <a:gd name="connsiteY213" fmla="*/ 809128 h 892175"/>
                  <a:gd name="connsiteX214" fmla="*/ 893953 w 1292225"/>
                  <a:gd name="connsiteY214" fmla="*/ 810558 h 892175"/>
                  <a:gd name="connsiteX215" fmla="*/ 896811 w 1292225"/>
                  <a:gd name="connsiteY215" fmla="*/ 810558 h 892175"/>
                  <a:gd name="connsiteX216" fmla="*/ 903241 w 1292225"/>
                  <a:gd name="connsiteY216" fmla="*/ 811272 h 892175"/>
                  <a:gd name="connsiteX217" fmla="*/ 906099 w 1292225"/>
                  <a:gd name="connsiteY217" fmla="*/ 811272 h 892175"/>
                  <a:gd name="connsiteX218" fmla="*/ 913958 w 1292225"/>
                  <a:gd name="connsiteY218" fmla="*/ 811272 h 892175"/>
                  <a:gd name="connsiteX219" fmla="*/ 915387 w 1292225"/>
                  <a:gd name="connsiteY219" fmla="*/ 811272 h 892175"/>
                  <a:gd name="connsiteX220" fmla="*/ 923961 w 1292225"/>
                  <a:gd name="connsiteY220" fmla="*/ 811272 h 892175"/>
                  <a:gd name="connsiteX221" fmla="*/ 926819 w 1292225"/>
                  <a:gd name="connsiteY221" fmla="*/ 811272 h 892175"/>
                  <a:gd name="connsiteX222" fmla="*/ 928248 w 1292225"/>
                  <a:gd name="connsiteY222" fmla="*/ 811272 h 892175"/>
                  <a:gd name="connsiteX223" fmla="*/ 933964 w 1292225"/>
                  <a:gd name="connsiteY223" fmla="*/ 810558 h 892175"/>
                  <a:gd name="connsiteX224" fmla="*/ 936821 w 1292225"/>
                  <a:gd name="connsiteY224" fmla="*/ 810558 h 892175"/>
                  <a:gd name="connsiteX225" fmla="*/ 938250 w 1292225"/>
                  <a:gd name="connsiteY225" fmla="*/ 809843 h 892175"/>
                  <a:gd name="connsiteX226" fmla="*/ 943252 w 1292225"/>
                  <a:gd name="connsiteY226" fmla="*/ 809128 h 892175"/>
                  <a:gd name="connsiteX227" fmla="*/ 946824 w 1292225"/>
                  <a:gd name="connsiteY227" fmla="*/ 809128 h 892175"/>
                  <a:gd name="connsiteX228" fmla="*/ 948253 w 1292225"/>
                  <a:gd name="connsiteY228" fmla="*/ 808414 h 892175"/>
                  <a:gd name="connsiteX229" fmla="*/ 952540 w 1292225"/>
                  <a:gd name="connsiteY229" fmla="*/ 807699 h 892175"/>
                  <a:gd name="connsiteX230" fmla="*/ 956112 w 1292225"/>
                  <a:gd name="connsiteY230" fmla="*/ 806984 h 892175"/>
                  <a:gd name="connsiteX231" fmla="*/ 956827 w 1292225"/>
                  <a:gd name="connsiteY231" fmla="*/ 806984 h 892175"/>
                  <a:gd name="connsiteX232" fmla="*/ 961828 w 1292225"/>
                  <a:gd name="connsiteY232" fmla="*/ 805555 h 892175"/>
                  <a:gd name="connsiteX233" fmla="*/ 965400 w 1292225"/>
                  <a:gd name="connsiteY233" fmla="*/ 804840 h 892175"/>
                  <a:gd name="connsiteX234" fmla="*/ 970401 w 1292225"/>
                  <a:gd name="connsiteY234" fmla="*/ 803411 h 892175"/>
                  <a:gd name="connsiteX235" fmla="*/ 974688 w 1292225"/>
                  <a:gd name="connsiteY235" fmla="*/ 801982 h 892175"/>
                  <a:gd name="connsiteX236" fmla="*/ 979689 w 1292225"/>
                  <a:gd name="connsiteY236" fmla="*/ 800552 h 892175"/>
                  <a:gd name="connsiteX237" fmla="*/ 983262 w 1292225"/>
                  <a:gd name="connsiteY237" fmla="*/ 799123 h 892175"/>
                  <a:gd name="connsiteX238" fmla="*/ 988263 w 1292225"/>
                  <a:gd name="connsiteY238" fmla="*/ 796979 h 892175"/>
                  <a:gd name="connsiteX239" fmla="*/ 991835 w 1292225"/>
                  <a:gd name="connsiteY239" fmla="*/ 795550 h 892175"/>
                  <a:gd name="connsiteX240" fmla="*/ 996837 w 1292225"/>
                  <a:gd name="connsiteY240" fmla="*/ 793406 h 892175"/>
                  <a:gd name="connsiteX241" fmla="*/ 1000409 w 1292225"/>
                  <a:gd name="connsiteY241" fmla="*/ 791977 h 892175"/>
                  <a:gd name="connsiteX242" fmla="*/ 1004696 w 1292225"/>
                  <a:gd name="connsiteY242" fmla="*/ 789118 h 892175"/>
                  <a:gd name="connsiteX243" fmla="*/ 1008268 w 1292225"/>
                  <a:gd name="connsiteY243" fmla="*/ 787689 h 892175"/>
                  <a:gd name="connsiteX244" fmla="*/ 1012555 w 1292225"/>
                  <a:gd name="connsiteY244" fmla="*/ 784830 h 892175"/>
                  <a:gd name="connsiteX245" fmla="*/ 1013269 w 1292225"/>
                  <a:gd name="connsiteY245" fmla="*/ 784830 h 892175"/>
                  <a:gd name="connsiteX246" fmla="*/ 1016127 w 1292225"/>
                  <a:gd name="connsiteY246" fmla="*/ 782686 h 892175"/>
                  <a:gd name="connsiteX247" fmla="*/ 1020414 w 1292225"/>
                  <a:gd name="connsiteY247" fmla="*/ 780542 h 892175"/>
                  <a:gd name="connsiteX248" fmla="*/ 1021129 w 1292225"/>
                  <a:gd name="connsiteY248" fmla="*/ 779828 h 892175"/>
                  <a:gd name="connsiteX249" fmla="*/ 1023986 w 1292225"/>
                  <a:gd name="connsiteY249" fmla="*/ 777684 h 892175"/>
                  <a:gd name="connsiteX250" fmla="*/ 1027559 w 1292225"/>
                  <a:gd name="connsiteY250" fmla="*/ 775540 h 892175"/>
                  <a:gd name="connsiteX251" fmla="*/ 1028988 w 1292225"/>
                  <a:gd name="connsiteY251" fmla="*/ 774110 h 892175"/>
                  <a:gd name="connsiteX252" fmla="*/ 1031131 w 1292225"/>
                  <a:gd name="connsiteY252" fmla="*/ 772681 h 892175"/>
                  <a:gd name="connsiteX253" fmla="*/ 1035418 w 1292225"/>
                  <a:gd name="connsiteY253" fmla="*/ 769108 h 892175"/>
                  <a:gd name="connsiteX254" fmla="*/ 1056138 w 1292225"/>
                  <a:gd name="connsiteY254" fmla="*/ 769108 h 892175"/>
                  <a:gd name="connsiteX255" fmla="*/ 1254045 w 1292225"/>
                  <a:gd name="connsiteY255" fmla="*/ 617603 h 892175"/>
                  <a:gd name="connsiteX256" fmla="*/ 1256188 w 1292225"/>
                  <a:gd name="connsiteY256" fmla="*/ 607598 h 892175"/>
                  <a:gd name="connsiteX257" fmla="*/ 1260475 w 1292225"/>
                  <a:gd name="connsiteY257" fmla="*/ 576868 h 892175"/>
                  <a:gd name="connsiteX258" fmla="*/ 1260475 w 1292225"/>
                  <a:gd name="connsiteY258" fmla="*/ 566863 h 892175"/>
                  <a:gd name="connsiteX259" fmla="*/ 1255474 w 1292225"/>
                  <a:gd name="connsiteY259" fmla="*/ 521840 h 892175"/>
                  <a:gd name="connsiteX260" fmla="*/ 1234754 w 1292225"/>
                  <a:gd name="connsiteY260" fmla="*/ 468241 h 892175"/>
                  <a:gd name="connsiteX261" fmla="*/ 1216893 w 1292225"/>
                  <a:gd name="connsiteY261" fmla="*/ 441799 h 892175"/>
                  <a:gd name="connsiteX262" fmla="*/ 1198317 w 1292225"/>
                  <a:gd name="connsiteY262" fmla="*/ 421074 h 892175"/>
                  <a:gd name="connsiteX263" fmla="*/ 1190457 w 1292225"/>
                  <a:gd name="connsiteY263" fmla="*/ 413928 h 892175"/>
                  <a:gd name="connsiteX264" fmla="*/ 1177597 w 1292225"/>
                  <a:gd name="connsiteY264" fmla="*/ 403208 h 892175"/>
                  <a:gd name="connsiteX265" fmla="*/ 1161879 w 1292225"/>
                  <a:gd name="connsiteY265" fmla="*/ 393203 h 892175"/>
                  <a:gd name="connsiteX266" fmla="*/ 1159021 w 1292225"/>
                  <a:gd name="connsiteY266" fmla="*/ 391774 h 892175"/>
                  <a:gd name="connsiteX267" fmla="*/ 1145446 w 1292225"/>
                  <a:gd name="connsiteY267" fmla="*/ 384627 h 892175"/>
                  <a:gd name="connsiteX268" fmla="*/ 1144017 w 1292225"/>
                  <a:gd name="connsiteY268" fmla="*/ 383913 h 892175"/>
                  <a:gd name="connsiteX269" fmla="*/ 1109723 w 1292225"/>
                  <a:gd name="connsiteY269" fmla="*/ 371049 h 892175"/>
                  <a:gd name="connsiteX270" fmla="*/ 974688 w 1292225"/>
                  <a:gd name="connsiteY270" fmla="*/ 281718 h 892175"/>
                  <a:gd name="connsiteX271" fmla="*/ 916102 w 1292225"/>
                  <a:gd name="connsiteY271" fmla="*/ 166660 h 892175"/>
                  <a:gd name="connsiteX272" fmla="*/ 771779 w 1292225"/>
                  <a:gd name="connsiteY272" fmla="*/ 107344 h 892175"/>
                  <a:gd name="connsiteX273" fmla="*/ 687472 w 1292225"/>
                  <a:gd name="connsiteY273" fmla="*/ 125925 h 892175"/>
                  <a:gd name="connsiteX274" fmla="*/ 479562 w 1292225"/>
                  <a:gd name="connsiteY274" fmla="*/ 30162 h 892175"/>
                  <a:gd name="connsiteX275" fmla="*/ 480479 w 1292225"/>
                  <a:gd name="connsiteY275" fmla="*/ 0 h 892175"/>
                  <a:gd name="connsiteX276" fmla="*/ 696088 w 1292225"/>
                  <a:gd name="connsiteY276" fmla="*/ 89788 h 892175"/>
                  <a:gd name="connsiteX277" fmla="*/ 772479 w 1292225"/>
                  <a:gd name="connsiteY277" fmla="*/ 76961 h 892175"/>
                  <a:gd name="connsiteX278" fmla="*/ 938113 w 1292225"/>
                  <a:gd name="connsiteY278" fmla="*/ 145371 h 892175"/>
                  <a:gd name="connsiteX279" fmla="*/ 1001653 w 1292225"/>
                  <a:gd name="connsiteY279" fmla="*/ 255111 h 892175"/>
                  <a:gd name="connsiteX280" fmla="*/ 1130876 w 1292225"/>
                  <a:gd name="connsiteY280" fmla="*/ 344898 h 892175"/>
                  <a:gd name="connsiteX281" fmla="*/ 1157291 w 1292225"/>
                  <a:gd name="connsiteY281" fmla="*/ 355587 h 892175"/>
                  <a:gd name="connsiteX282" fmla="*/ 1159433 w 1292225"/>
                  <a:gd name="connsiteY282" fmla="*/ 356300 h 892175"/>
                  <a:gd name="connsiteX283" fmla="*/ 1175140 w 1292225"/>
                  <a:gd name="connsiteY283" fmla="*/ 364851 h 892175"/>
                  <a:gd name="connsiteX284" fmla="*/ 1177995 w 1292225"/>
                  <a:gd name="connsiteY284" fmla="*/ 366276 h 892175"/>
                  <a:gd name="connsiteX285" fmla="*/ 1196558 w 1292225"/>
                  <a:gd name="connsiteY285" fmla="*/ 378391 h 892175"/>
                  <a:gd name="connsiteX286" fmla="*/ 1211550 w 1292225"/>
                  <a:gd name="connsiteY286" fmla="*/ 390505 h 892175"/>
                  <a:gd name="connsiteX287" fmla="*/ 1220118 w 1292225"/>
                  <a:gd name="connsiteY287" fmla="*/ 398343 h 892175"/>
                  <a:gd name="connsiteX288" fmla="*/ 1242250 w 1292225"/>
                  <a:gd name="connsiteY288" fmla="*/ 422572 h 892175"/>
                  <a:gd name="connsiteX289" fmla="*/ 1262954 w 1292225"/>
                  <a:gd name="connsiteY289" fmla="*/ 453214 h 892175"/>
                  <a:gd name="connsiteX290" fmla="*/ 1286514 w 1292225"/>
                  <a:gd name="connsiteY290" fmla="*/ 514497 h 892175"/>
                  <a:gd name="connsiteX291" fmla="*/ 1292225 w 1292225"/>
                  <a:gd name="connsiteY291" fmla="*/ 566517 h 892175"/>
                  <a:gd name="connsiteX292" fmla="*/ 1292225 w 1292225"/>
                  <a:gd name="connsiteY292" fmla="*/ 578631 h 892175"/>
                  <a:gd name="connsiteX293" fmla="*/ 1287228 w 1292225"/>
                  <a:gd name="connsiteY293" fmla="*/ 613549 h 892175"/>
                  <a:gd name="connsiteX294" fmla="*/ 1285086 w 1292225"/>
                  <a:gd name="connsiteY294" fmla="*/ 624950 h 892175"/>
                  <a:gd name="connsiteX295" fmla="*/ 1056626 w 1292225"/>
                  <a:gd name="connsiteY295" fmla="*/ 799537 h 892175"/>
                  <a:gd name="connsiteX296" fmla="*/ 1046631 w 1292225"/>
                  <a:gd name="connsiteY296" fmla="*/ 799537 h 892175"/>
                  <a:gd name="connsiteX297" fmla="*/ 1042347 w 1292225"/>
                  <a:gd name="connsiteY297" fmla="*/ 803100 h 892175"/>
                  <a:gd name="connsiteX298" fmla="*/ 1038778 w 1292225"/>
                  <a:gd name="connsiteY298" fmla="*/ 805238 h 892175"/>
                  <a:gd name="connsiteX299" fmla="*/ 1038064 w 1292225"/>
                  <a:gd name="connsiteY299" fmla="*/ 805951 h 892175"/>
                  <a:gd name="connsiteX300" fmla="*/ 1033066 w 1292225"/>
                  <a:gd name="connsiteY300" fmla="*/ 808801 h 892175"/>
                  <a:gd name="connsiteX301" fmla="*/ 1029497 w 1292225"/>
                  <a:gd name="connsiteY301" fmla="*/ 810939 h 892175"/>
                  <a:gd name="connsiteX302" fmla="*/ 1028783 w 1292225"/>
                  <a:gd name="connsiteY302" fmla="*/ 810939 h 892175"/>
                  <a:gd name="connsiteX303" fmla="*/ 1024499 w 1292225"/>
                  <a:gd name="connsiteY303" fmla="*/ 813789 h 892175"/>
                  <a:gd name="connsiteX304" fmla="*/ 1020215 w 1292225"/>
                  <a:gd name="connsiteY304" fmla="*/ 815927 h 892175"/>
                  <a:gd name="connsiteX305" fmla="*/ 1019501 w 1292225"/>
                  <a:gd name="connsiteY305" fmla="*/ 815927 h 892175"/>
                  <a:gd name="connsiteX306" fmla="*/ 1014504 w 1292225"/>
                  <a:gd name="connsiteY306" fmla="*/ 818777 h 892175"/>
                  <a:gd name="connsiteX307" fmla="*/ 1010220 w 1292225"/>
                  <a:gd name="connsiteY307" fmla="*/ 820915 h 892175"/>
                  <a:gd name="connsiteX308" fmla="*/ 1005223 w 1292225"/>
                  <a:gd name="connsiteY308" fmla="*/ 823053 h 892175"/>
                  <a:gd name="connsiteX309" fmla="*/ 1000225 w 1292225"/>
                  <a:gd name="connsiteY309" fmla="*/ 825191 h 892175"/>
                  <a:gd name="connsiteX310" fmla="*/ 995228 w 1292225"/>
                  <a:gd name="connsiteY310" fmla="*/ 827329 h 892175"/>
                  <a:gd name="connsiteX311" fmla="*/ 990230 w 1292225"/>
                  <a:gd name="connsiteY311" fmla="*/ 828754 h 892175"/>
                  <a:gd name="connsiteX312" fmla="*/ 985233 w 1292225"/>
                  <a:gd name="connsiteY312" fmla="*/ 830892 h 892175"/>
                  <a:gd name="connsiteX313" fmla="*/ 980235 w 1292225"/>
                  <a:gd name="connsiteY313" fmla="*/ 832317 h 892175"/>
                  <a:gd name="connsiteX314" fmla="*/ 974523 w 1292225"/>
                  <a:gd name="connsiteY314" fmla="*/ 833742 h 892175"/>
                  <a:gd name="connsiteX315" fmla="*/ 970240 w 1292225"/>
                  <a:gd name="connsiteY315" fmla="*/ 835167 h 892175"/>
                  <a:gd name="connsiteX316" fmla="*/ 963814 w 1292225"/>
                  <a:gd name="connsiteY316" fmla="*/ 836592 h 892175"/>
                  <a:gd name="connsiteX317" fmla="*/ 963101 w 1292225"/>
                  <a:gd name="connsiteY317" fmla="*/ 836592 h 892175"/>
                  <a:gd name="connsiteX318" fmla="*/ 959531 w 1292225"/>
                  <a:gd name="connsiteY318" fmla="*/ 837305 h 892175"/>
                  <a:gd name="connsiteX319" fmla="*/ 953819 w 1292225"/>
                  <a:gd name="connsiteY319" fmla="*/ 838730 h 892175"/>
                  <a:gd name="connsiteX320" fmla="*/ 952391 w 1292225"/>
                  <a:gd name="connsiteY320" fmla="*/ 838730 h 892175"/>
                  <a:gd name="connsiteX321" fmla="*/ 948108 w 1292225"/>
                  <a:gd name="connsiteY321" fmla="*/ 839443 h 892175"/>
                  <a:gd name="connsiteX322" fmla="*/ 942396 w 1292225"/>
                  <a:gd name="connsiteY322" fmla="*/ 840155 h 892175"/>
                  <a:gd name="connsiteX323" fmla="*/ 941682 w 1292225"/>
                  <a:gd name="connsiteY323" fmla="*/ 840155 h 892175"/>
                  <a:gd name="connsiteX324" fmla="*/ 937399 w 1292225"/>
                  <a:gd name="connsiteY324" fmla="*/ 840868 h 892175"/>
                  <a:gd name="connsiteX325" fmla="*/ 930973 w 1292225"/>
                  <a:gd name="connsiteY325" fmla="*/ 841581 h 892175"/>
                  <a:gd name="connsiteX326" fmla="*/ 930259 w 1292225"/>
                  <a:gd name="connsiteY326" fmla="*/ 841581 h 892175"/>
                  <a:gd name="connsiteX327" fmla="*/ 926690 w 1292225"/>
                  <a:gd name="connsiteY327" fmla="*/ 841581 h 892175"/>
                  <a:gd name="connsiteX328" fmla="*/ 915981 w 1292225"/>
                  <a:gd name="connsiteY328" fmla="*/ 841581 h 892175"/>
                  <a:gd name="connsiteX329" fmla="*/ 914553 w 1292225"/>
                  <a:gd name="connsiteY329" fmla="*/ 841581 h 892175"/>
                  <a:gd name="connsiteX330" fmla="*/ 905272 w 1292225"/>
                  <a:gd name="connsiteY330" fmla="*/ 841581 h 892175"/>
                  <a:gd name="connsiteX331" fmla="*/ 901702 w 1292225"/>
                  <a:gd name="connsiteY331" fmla="*/ 841581 h 892175"/>
                  <a:gd name="connsiteX332" fmla="*/ 894563 w 1292225"/>
                  <a:gd name="connsiteY332" fmla="*/ 840868 h 892175"/>
                  <a:gd name="connsiteX333" fmla="*/ 890993 w 1292225"/>
                  <a:gd name="connsiteY333" fmla="*/ 840868 h 892175"/>
                  <a:gd name="connsiteX334" fmla="*/ 880998 w 1292225"/>
                  <a:gd name="connsiteY334" fmla="*/ 839443 h 892175"/>
                  <a:gd name="connsiteX335" fmla="*/ 879570 w 1292225"/>
                  <a:gd name="connsiteY335" fmla="*/ 838730 h 892175"/>
                  <a:gd name="connsiteX336" fmla="*/ 871717 w 1292225"/>
                  <a:gd name="connsiteY336" fmla="*/ 837305 h 892175"/>
                  <a:gd name="connsiteX337" fmla="*/ 868861 w 1292225"/>
                  <a:gd name="connsiteY337" fmla="*/ 837305 h 892175"/>
                  <a:gd name="connsiteX338" fmla="*/ 868147 w 1292225"/>
                  <a:gd name="connsiteY338" fmla="*/ 836592 h 892175"/>
                  <a:gd name="connsiteX339" fmla="*/ 862435 w 1292225"/>
                  <a:gd name="connsiteY339" fmla="*/ 835167 h 892175"/>
                  <a:gd name="connsiteX340" fmla="*/ 861722 w 1292225"/>
                  <a:gd name="connsiteY340" fmla="*/ 835167 h 892175"/>
                  <a:gd name="connsiteX341" fmla="*/ 858866 w 1292225"/>
                  <a:gd name="connsiteY341" fmla="*/ 834455 h 892175"/>
                  <a:gd name="connsiteX342" fmla="*/ 849585 w 1292225"/>
                  <a:gd name="connsiteY342" fmla="*/ 832317 h 892175"/>
                  <a:gd name="connsiteX343" fmla="*/ 846729 w 1292225"/>
                  <a:gd name="connsiteY343" fmla="*/ 830892 h 892175"/>
                  <a:gd name="connsiteX344" fmla="*/ 846015 w 1292225"/>
                  <a:gd name="connsiteY344" fmla="*/ 830892 h 892175"/>
                  <a:gd name="connsiteX345" fmla="*/ 840303 w 1292225"/>
                  <a:gd name="connsiteY345" fmla="*/ 828754 h 892175"/>
                  <a:gd name="connsiteX346" fmla="*/ 836020 w 1292225"/>
                  <a:gd name="connsiteY346" fmla="*/ 827329 h 892175"/>
                  <a:gd name="connsiteX347" fmla="*/ 832450 w 1292225"/>
                  <a:gd name="connsiteY347" fmla="*/ 825903 h 892175"/>
                  <a:gd name="connsiteX348" fmla="*/ 825311 w 1292225"/>
                  <a:gd name="connsiteY348" fmla="*/ 830179 h 892175"/>
                  <a:gd name="connsiteX349" fmla="*/ 823169 w 1292225"/>
                  <a:gd name="connsiteY349" fmla="*/ 831604 h 892175"/>
                  <a:gd name="connsiteX350" fmla="*/ 815316 w 1292225"/>
                  <a:gd name="connsiteY350" fmla="*/ 835880 h 892175"/>
                  <a:gd name="connsiteX351" fmla="*/ 813174 w 1292225"/>
                  <a:gd name="connsiteY351" fmla="*/ 837305 h 892175"/>
                  <a:gd name="connsiteX352" fmla="*/ 805321 w 1292225"/>
                  <a:gd name="connsiteY352" fmla="*/ 840868 h 892175"/>
                  <a:gd name="connsiteX353" fmla="*/ 802465 w 1292225"/>
                  <a:gd name="connsiteY353" fmla="*/ 842293 h 892175"/>
                  <a:gd name="connsiteX354" fmla="*/ 795325 w 1292225"/>
                  <a:gd name="connsiteY354" fmla="*/ 845144 h 892175"/>
                  <a:gd name="connsiteX355" fmla="*/ 791756 w 1292225"/>
                  <a:gd name="connsiteY355" fmla="*/ 846569 h 892175"/>
                  <a:gd name="connsiteX356" fmla="*/ 791042 w 1292225"/>
                  <a:gd name="connsiteY356" fmla="*/ 846569 h 892175"/>
                  <a:gd name="connsiteX357" fmla="*/ 784616 w 1292225"/>
                  <a:gd name="connsiteY357" fmla="*/ 849419 h 892175"/>
                  <a:gd name="connsiteX358" fmla="*/ 780333 w 1292225"/>
                  <a:gd name="connsiteY358" fmla="*/ 850844 h 892175"/>
                  <a:gd name="connsiteX359" fmla="*/ 773193 w 1292225"/>
                  <a:gd name="connsiteY359" fmla="*/ 852982 h 892175"/>
                  <a:gd name="connsiteX360" fmla="*/ 769624 w 1292225"/>
                  <a:gd name="connsiteY360" fmla="*/ 854407 h 892175"/>
                  <a:gd name="connsiteX361" fmla="*/ 768196 w 1292225"/>
                  <a:gd name="connsiteY361" fmla="*/ 854407 h 892175"/>
                  <a:gd name="connsiteX362" fmla="*/ 762484 w 1292225"/>
                  <a:gd name="connsiteY362" fmla="*/ 855833 h 892175"/>
                  <a:gd name="connsiteX363" fmla="*/ 758201 w 1292225"/>
                  <a:gd name="connsiteY363" fmla="*/ 857258 h 892175"/>
                  <a:gd name="connsiteX364" fmla="*/ 756059 w 1292225"/>
                  <a:gd name="connsiteY364" fmla="*/ 857258 h 892175"/>
                  <a:gd name="connsiteX365" fmla="*/ 751061 w 1292225"/>
                  <a:gd name="connsiteY365" fmla="*/ 858683 h 892175"/>
                  <a:gd name="connsiteX366" fmla="*/ 746064 w 1292225"/>
                  <a:gd name="connsiteY366" fmla="*/ 859396 h 892175"/>
                  <a:gd name="connsiteX367" fmla="*/ 743922 w 1292225"/>
                  <a:gd name="connsiteY367" fmla="*/ 860108 h 892175"/>
                  <a:gd name="connsiteX368" fmla="*/ 738924 w 1292225"/>
                  <a:gd name="connsiteY368" fmla="*/ 860821 h 892175"/>
                  <a:gd name="connsiteX369" fmla="*/ 733927 w 1292225"/>
                  <a:gd name="connsiteY369" fmla="*/ 861533 h 892175"/>
                  <a:gd name="connsiteX370" fmla="*/ 731785 w 1292225"/>
                  <a:gd name="connsiteY370" fmla="*/ 861533 h 892175"/>
                  <a:gd name="connsiteX371" fmla="*/ 727501 w 1292225"/>
                  <a:gd name="connsiteY371" fmla="*/ 862246 h 892175"/>
                  <a:gd name="connsiteX372" fmla="*/ 720362 w 1292225"/>
                  <a:gd name="connsiteY372" fmla="*/ 862959 h 892175"/>
                  <a:gd name="connsiteX373" fmla="*/ 718934 w 1292225"/>
                  <a:gd name="connsiteY373" fmla="*/ 862959 h 892175"/>
                  <a:gd name="connsiteX374" fmla="*/ 715365 w 1292225"/>
                  <a:gd name="connsiteY374" fmla="*/ 862959 h 892175"/>
                  <a:gd name="connsiteX375" fmla="*/ 703228 w 1292225"/>
                  <a:gd name="connsiteY375" fmla="*/ 863671 h 892175"/>
                  <a:gd name="connsiteX376" fmla="*/ 690377 w 1292225"/>
                  <a:gd name="connsiteY376" fmla="*/ 862959 h 892175"/>
                  <a:gd name="connsiteX377" fmla="*/ 686807 w 1292225"/>
                  <a:gd name="connsiteY377" fmla="*/ 862959 h 892175"/>
                  <a:gd name="connsiteX378" fmla="*/ 684665 w 1292225"/>
                  <a:gd name="connsiteY378" fmla="*/ 862246 h 892175"/>
                  <a:gd name="connsiteX379" fmla="*/ 678240 w 1292225"/>
                  <a:gd name="connsiteY379" fmla="*/ 862246 h 892175"/>
                  <a:gd name="connsiteX380" fmla="*/ 673242 w 1292225"/>
                  <a:gd name="connsiteY380" fmla="*/ 861533 h 892175"/>
                  <a:gd name="connsiteX381" fmla="*/ 671100 w 1292225"/>
                  <a:gd name="connsiteY381" fmla="*/ 861533 h 892175"/>
                  <a:gd name="connsiteX382" fmla="*/ 666103 w 1292225"/>
                  <a:gd name="connsiteY382" fmla="*/ 860821 h 892175"/>
                  <a:gd name="connsiteX383" fmla="*/ 660391 w 1292225"/>
                  <a:gd name="connsiteY383" fmla="*/ 859396 h 892175"/>
                  <a:gd name="connsiteX384" fmla="*/ 658250 w 1292225"/>
                  <a:gd name="connsiteY384" fmla="*/ 859396 h 892175"/>
                  <a:gd name="connsiteX385" fmla="*/ 654680 w 1292225"/>
                  <a:gd name="connsiteY385" fmla="*/ 858683 h 892175"/>
                  <a:gd name="connsiteX386" fmla="*/ 647541 w 1292225"/>
                  <a:gd name="connsiteY386" fmla="*/ 856545 h 892175"/>
                  <a:gd name="connsiteX387" fmla="*/ 646113 w 1292225"/>
                  <a:gd name="connsiteY387" fmla="*/ 856545 h 892175"/>
                  <a:gd name="connsiteX388" fmla="*/ 642543 w 1292225"/>
                  <a:gd name="connsiteY388" fmla="*/ 855833 h 892175"/>
                  <a:gd name="connsiteX389" fmla="*/ 634690 w 1292225"/>
                  <a:gd name="connsiteY389" fmla="*/ 853695 h 892175"/>
                  <a:gd name="connsiteX390" fmla="*/ 631834 w 1292225"/>
                  <a:gd name="connsiteY390" fmla="*/ 852982 h 892175"/>
                  <a:gd name="connsiteX391" fmla="*/ 623267 w 1292225"/>
                  <a:gd name="connsiteY391" fmla="*/ 850132 h 892175"/>
                  <a:gd name="connsiteX392" fmla="*/ 620411 w 1292225"/>
                  <a:gd name="connsiteY392" fmla="*/ 848707 h 892175"/>
                  <a:gd name="connsiteX393" fmla="*/ 611130 w 1292225"/>
                  <a:gd name="connsiteY393" fmla="*/ 845856 h 892175"/>
                  <a:gd name="connsiteX394" fmla="*/ 609702 w 1292225"/>
                  <a:gd name="connsiteY394" fmla="*/ 844431 h 892175"/>
                  <a:gd name="connsiteX395" fmla="*/ 600421 w 1292225"/>
                  <a:gd name="connsiteY395" fmla="*/ 840868 h 892175"/>
                  <a:gd name="connsiteX396" fmla="*/ 598993 w 1292225"/>
                  <a:gd name="connsiteY396" fmla="*/ 840155 h 892175"/>
                  <a:gd name="connsiteX397" fmla="*/ 589712 w 1292225"/>
                  <a:gd name="connsiteY397" fmla="*/ 835167 h 892175"/>
                  <a:gd name="connsiteX398" fmla="*/ 588998 w 1292225"/>
                  <a:gd name="connsiteY398" fmla="*/ 835167 h 892175"/>
                  <a:gd name="connsiteX399" fmla="*/ 588284 w 1292225"/>
                  <a:gd name="connsiteY399" fmla="*/ 834455 h 892175"/>
                  <a:gd name="connsiteX400" fmla="*/ 581858 w 1292225"/>
                  <a:gd name="connsiteY400" fmla="*/ 830892 h 892175"/>
                  <a:gd name="connsiteX401" fmla="*/ 574005 w 1292225"/>
                  <a:gd name="connsiteY401" fmla="*/ 836592 h 892175"/>
                  <a:gd name="connsiteX402" fmla="*/ 571149 w 1292225"/>
                  <a:gd name="connsiteY402" fmla="*/ 838730 h 892175"/>
                  <a:gd name="connsiteX403" fmla="*/ 561868 w 1292225"/>
                  <a:gd name="connsiteY403" fmla="*/ 845144 h 892175"/>
                  <a:gd name="connsiteX404" fmla="*/ 558299 w 1292225"/>
                  <a:gd name="connsiteY404" fmla="*/ 847281 h 892175"/>
                  <a:gd name="connsiteX405" fmla="*/ 549731 w 1292225"/>
                  <a:gd name="connsiteY405" fmla="*/ 852270 h 892175"/>
                  <a:gd name="connsiteX406" fmla="*/ 545448 w 1292225"/>
                  <a:gd name="connsiteY406" fmla="*/ 855120 h 892175"/>
                  <a:gd name="connsiteX407" fmla="*/ 539022 w 1292225"/>
                  <a:gd name="connsiteY407" fmla="*/ 858683 h 892175"/>
                  <a:gd name="connsiteX408" fmla="*/ 531883 w 1292225"/>
                  <a:gd name="connsiteY408" fmla="*/ 862246 h 892175"/>
                  <a:gd name="connsiteX409" fmla="*/ 526885 w 1292225"/>
                  <a:gd name="connsiteY409" fmla="*/ 864384 h 892175"/>
                  <a:gd name="connsiteX410" fmla="*/ 518318 w 1292225"/>
                  <a:gd name="connsiteY410" fmla="*/ 868659 h 892175"/>
                  <a:gd name="connsiteX411" fmla="*/ 514034 w 1292225"/>
                  <a:gd name="connsiteY411" fmla="*/ 870085 h 892175"/>
                  <a:gd name="connsiteX412" fmla="*/ 504039 w 1292225"/>
                  <a:gd name="connsiteY412" fmla="*/ 874360 h 892175"/>
                  <a:gd name="connsiteX413" fmla="*/ 501184 w 1292225"/>
                  <a:gd name="connsiteY413" fmla="*/ 875073 h 892175"/>
                  <a:gd name="connsiteX414" fmla="*/ 500470 w 1292225"/>
                  <a:gd name="connsiteY414" fmla="*/ 875785 h 892175"/>
                  <a:gd name="connsiteX415" fmla="*/ 490475 w 1292225"/>
                  <a:gd name="connsiteY415" fmla="*/ 878636 h 892175"/>
                  <a:gd name="connsiteX416" fmla="*/ 486905 w 1292225"/>
                  <a:gd name="connsiteY416" fmla="*/ 880061 h 892175"/>
                  <a:gd name="connsiteX417" fmla="*/ 476910 w 1292225"/>
                  <a:gd name="connsiteY417" fmla="*/ 882911 h 892175"/>
                  <a:gd name="connsiteX418" fmla="*/ 474768 w 1292225"/>
                  <a:gd name="connsiteY418" fmla="*/ 883624 h 892175"/>
                  <a:gd name="connsiteX419" fmla="*/ 462631 w 1292225"/>
                  <a:gd name="connsiteY419" fmla="*/ 886474 h 892175"/>
                  <a:gd name="connsiteX420" fmla="*/ 459775 w 1292225"/>
                  <a:gd name="connsiteY420" fmla="*/ 886474 h 892175"/>
                  <a:gd name="connsiteX421" fmla="*/ 447638 w 1292225"/>
                  <a:gd name="connsiteY421" fmla="*/ 888612 h 892175"/>
                  <a:gd name="connsiteX422" fmla="*/ 445497 w 1292225"/>
                  <a:gd name="connsiteY422" fmla="*/ 889325 h 892175"/>
                  <a:gd name="connsiteX423" fmla="*/ 432646 w 1292225"/>
                  <a:gd name="connsiteY423" fmla="*/ 890750 h 892175"/>
                  <a:gd name="connsiteX424" fmla="*/ 430504 w 1292225"/>
                  <a:gd name="connsiteY424" fmla="*/ 890750 h 892175"/>
                  <a:gd name="connsiteX425" fmla="*/ 417653 w 1292225"/>
                  <a:gd name="connsiteY425" fmla="*/ 892175 h 892175"/>
                  <a:gd name="connsiteX426" fmla="*/ 416939 w 1292225"/>
                  <a:gd name="connsiteY426" fmla="*/ 892175 h 892175"/>
                  <a:gd name="connsiteX427" fmla="*/ 402660 w 1292225"/>
                  <a:gd name="connsiteY427" fmla="*/ 892175 h 892175"/>
                  <a:gd name="connsiteX428" fmla="*/ 389096 w 1292225"/>
                  <a:gd name="connsiteY428" fmla="*/ 892175 h 892175"/>
                  <a:gd name="connsiteX429" fmla="*/ 388382 w 1292225"/>
                  <a:gd name="connsiteY429" fmla="*/ 892175 h 892175"/>
                  <a:gd name="connsiteX430" fmla="*/ 386240 w 1292225"/>
                  <a:gd name="connsiteY430" fmla="*/ 892175 h 892175"/>
                  <a:gd name="connsiteX431" fmla="*/ 373389 w 1292225"/>
                  <a:gd name="connsiteY431" fmla="*/ 890750 h 892175"/>
                  <a:gd name="connsiteX432" fmla="*/ 372675 w 1292225"/>
                  <a:gd name="connsiteY432" fmla="*/ 890750 h 892175"/>
                  <a:gd name="connsiteX433" fmla="*/ 371247 w 1292225"/>
                  <a:gd name="connsiteY433" fmla="*/ 890750 h 892175"/>
                  <a:gd name="connsiteX434" fmla="*/ 359110 w 1292225"/>
                  <a:gd name="connsiteY434" fmla="*/ 889325 h 892175"/>
                  <a:gd name="connsiteX435" fmla="*/ 357682 w 1292225"/>
                  <a:gd name="connsiteY435" fmla="*/ 889325 h 892175"/>
                  <a:gd name="connsiteX436" fmla="*/ 356968 w 1292225"/>
                  <a:gd name="connsiteY436" fmla="*/ 889325 h 892175"/>
                  <a:gd name="connsiteX437" fmla="*/ 344118 w 1292225"/>
                  <a:gd name="connsiteY437" fmla="*/ 886474 h 892175"/>
                  <a:gd name="connsiteX438" fmla="*/ 341976 w 1292225"/>
                  <a:gd name="connsiteY438" fmla="*/ 886474 h 892175"/>
                  <a:gd name="connsiteX439" fmla="*/ 329839 w 1292225"/>
                  <a:gd name="connsiteY439" fmla="*/ 883624 h 892175"/>
                  <a:gd name="connsiteX440" fmla="*/ 328411 w 1292225"/>
                  <a:gd name="connsiteY440" fmla="*/ 882911 h 892175"/>
                  <a:gd name="connsiteX441" fmla="*/ 316274 w 1292225"/>
                  <a:gd name="connsiteY441" fmla="*/ 880061 h 892175"/>
                  <a:gd name="connsiteX442" fmla="*/ 314132 w 1292225"/>
                  <a:gd name="connsiteY442" fmla="*/ 878636 h 892175"/>
                  <a:gd name="connsiteX443" fmla="*/ 301995 w 1292225"/>
                  <a:gd name="connsiteY443" fmla="*/ 875073 h 892175"/>
                  <a:gd name="connsiteX444" fmla="*/ 299854 w 1292225"/>
                  <a:gd name="connsiteY444" fmla="*/ 874360 h 892175"/>
                  <a:gd name="connsiteX445" fmla="*/ 289858 w 1292225"/>
                  <a:gd name="connsiteY445" fmla="*/ 870085 h 892175"/>
                  <a:gd name="connsiteX446" fmla="*/ 287717 w 1292225"/>
                  <a:gd name="connsiteY446" fmla="*/ 869372 h 892175"/>
                  <a:gd name="connsiteX447" fmla="*/ 287003 w 1292225"/>
                  <a:gd name="connsiteY447" fmla="*/ 869372 h 892175"/>
                  <a:gd name="connsiteX448" fmla="*/ 276294 w 1292225"/>
                  <a:gd name="connsiteY448" fmla="*/ 864384 h 892175"/>
                  <a:gd name="connsiteX449" fmla="*/ 273438 w 1292225"/>
                  <a:gd name="connsiteY449" fmla="*/ 862959 h 892175"/>
                  <a:gd name="connsiteX450" fmla="*/ 263443 w 1292225"/>
                  <a:gd name="connsiteY450" fmla="*/ 857970 h 892175"/>
                  <a:gd name="connsiteX451" fmla="*/ 262015 w 1292225"/>
                  <a:gd name="connsiteY451" fmla="*/ 856545 h 892175"/>
                  <a:gd name="connsiteX452" fmla="*/ 251306 w 1292225"/>
                  <a:gd name="connsiteY452" fmla="*/ 850844 h 892175"/>
                  <a:gd name="connsiteX453" fmla="*/ 248450 w 1292225"/>
                  <a:gd name="connsiteY453" fmla="*/ 849419 h 892175"/>
                  <a:gd name="connsiteX454" fmla="*/ 238455 w 1292225"/>
                  <a:gd name="connsiteY454" fmla="*/ 843006 h 892175"/>
                  <a:gd name="connsiteX455" fmla="*/ 236313 w 1292225"/>
                  <a:gd name="connsiteY455" fmla="*/ 840868 h 892175"/>
                  <a:gd name="connsiteX456" fmla="*/ 228460 w 1292225"/>
                  <a:gd name="connsiteY456" fmla="*/ 835167 h 892175"/>
                  <a:gd name="connsiteX457" fmla="*/ 227746 w 1292225"/>
                  <a:gd name="connsiteY457" fmla="*/ 835167 h 892175"/>
                  <a:gd name="connsiteX458" fmla="*/ 225604 w 1292225"/>
                  <a:gd name="connsiteY458" fmla="*/ 833742 h 892175"/>
                  <a:gd name="connsiteX459" fmla="*/ 217037 w 1292225"/>
                  <a:gd name="connsiteY459" fmla="*/ 826616 h 892175"/>
                  <a:gd name="connsiteX460" fmla="*/ 214181 w 1292225"/>
                  <a:gd name="connsiteY460" fmla="*/ 823766 h 892175"/>
                  <a:gd name="connsiteX461" fmla="*/ 206328 w 1292225"/>
                  <a:gd name="connsiteY461" fmla="*/ 817352 h 892175"/>
                  <a:gd name="connsiteX462" fmla="*/ 204186 w 1292225"/>
                  <a:gd name="connsiteY462" fmla="*/ 815927 h 892175"/>
                  <a:gd name="connsiteX463" fmla="*/ 196333 w 1292225"/>
                  <a:gd name="connsiteY463" fmla="*/ 808088 h 892175"/>
                  <a:gd name="connsiteX464" fmla="*/ 193477 w 1292225"/>
                  <a:gd name="connsiteY464" fmla="*/ 805238 h 892175"/>
                  <a:gd name="connsiteX465" fmla="*/ 185624 w 1292225"/>
                  <a:gd name="connsiteY465" fmla="*/ 797399 h 892175"/>
                  <a:gd name="connsiteX466" fmla="*/ 183482 w 1292225"/>
                  <a:gd name="connsiteY466" fmla="*/ 794549 h 892175"/>
                  <a:gd name="connsiteX467" fmla="*/ 177056 w 1292225"/>
                  <a:gd name="connsiteY467" fmla="*/ 787423 h 892175"/>
                  <a:gd name="connsiteX468" fmla="*/ 174915 w 1292225"/>
                  <a:gd name="connsiteY468" fmla="*/ 784573 h 892175"/>
                  <a:gd name="connsiteX469" fmla="*/ 171345 w 1292225"/>
                  <a:gd name="connsiteY469" fmla="*/ 780297 h 892175"/>
                  <a:gd name="connsiteX470" fmla="*/ 169203 w 1292225"/>
                  <a:gd name="connsiteY470" fmla="*/ 779584 h 892175"/>
                  <a:gd name="connsiteX471" fmla="*/ 164920 w 1292225"/>
                  <a:gd name="connsiteY471" fmla="*/ 777447 h 892175"/>
                  <a:gd name="connsiteX472" fmla="*/ 157780 w 1292225"/>
                  <a:gd name="connsiteY472" fmla="*/ 774596 h 892175"/>
                  <a:gd name="connsiteX473" fmla="*/ 157066 w 1292225"/>
                  <a:gd name="connsiteY473" fmla="*/ 773884 h 892175"/>
                  <a:gd name="connsiteX474" fmla="*/ 153497 w 1292225"/>
                  <a:gd name="connsiteY474" fmla="*/ 772458 h 892175"/>
                  <a:gd name="connsiteX475" fmla="*/ 145643 w 1292225"/>
                  <a:gd name="connsiteY475" fmla="*/ 768183 h 892175"/>
                  <a:gd name="connsiteX476" fmla="*/ 142788 w 1292225"/>
                  <a:gd name="connsiteY476" fmla="*/ 766758 h 892175"/>
                  <a:gd name="connsiteX477" fmla="*/ 132078 w 1292225"/>
                  <a:gd name="connsiteY477" fmla="*/ 761057 h 892175"/>
                  <a:gd name="connsiteX478" fmla="*/ 129937 w 1292225"/>
                  <a:gd name="connsiteY478" fmla="*/ 759632 h 892175"/>
                  <a:gd name="connsiteX479" fmla="*/ 129223 w 1292225"/>
                  <a:gd name="connsiteY479" fmla="*/ 758919 h 892175"/>
                  <a:gd name="connsiteX480" fmla="*/ 122083 w 1292225"/>
                  <a:gd name="connsiteY480" fmla="*/ 754643 h 892175"/>
                  <a:gd name="connsiteX481" fmla="*/ 119228 w 1292225"/>
                  <a:gd name="connsiteY481" fmla="*/ 752506 h 892175"/>
                  <a:gd name="connsiteX482" fmla="*/ 118514 w 1292225"/>
                  <a:gd name="connsiteY482" fmla="*/ 751793 h 892175"/>
                  <a:gd name="connsiteX483" fmla="*/ 112088 w 1292225"/>
                  <a:gd name="connsiteY483" fmla="*/ 747517 h 892175"/>
                  <a:gd name="connsiteX484" fmla="*/ 111374 w 1292225"/>
                  <a:gd name="connsiteY484" fmla="*/ 747517 h 892175"/>
                  <a:gd name="connsiteX485" fmla="*/ 108519 w 1292225"/>
                  <a:gd name="connsiteY485" fmla="*/ 744667 h 892175"/>
                  <a:gd name="connsiteX486" fmla="*/ 102093 w 1292225"/>
                  <a:gd name="connsiteY486" fmla="*/ 739679 h 892175"/>
                  <a:gd name="connsiteX487" fmla="*/ 101379 w 1292225"/>
                  <a:gd name="connsiteY487" fmla="*/ 739679 h 892175"/>
                  <a:gd name="connsiteX488" fmla="*/ 99237 w 1292225"/>
                  <a:gd name="connsiteY488" fmla="*/ 737541 h 892175"/>
                  <a:gd name="connsiteX489" fmla="*/ 89956 w 1292225"/>
                  <a:gd name="connsiteY489" fmla="*/ 729702 h 892175"/>
                  <a:gd name="connsiteX490" fmla="*/ 87814 w 1292225"/>
                  <a:gd name="connsiteY490" fmla="*/ 728277 h 892175"/>
                  <a:gd name="connsiteX491" fmla="*/ 81389 w 1292225"/>
                  <a:gd name="connsiteY491" fmla="*/ 721864 h 892175"/>
                  <a:gd name="connsiteX492" fmla="*/ 78533 w 1292225"/>
                  <a:gd name="connsiteY492" fmla="*/ 719013 h 892175"/>
                  <a:gd name="connsiteX493" fmla="*/ 78533 w 1292225"/>
                  <a:gd name="connsiteY493" fmla="*/ 718301 h 892175"/>
                  <a:gd name="connsiteX494" fmla="*/ 72822 w 1292225"/>
                  <a:gd name="connsiteY494" fmla="*/ 713313 h 892175"/>
                  <a:gd name="connsiteX495" fmla="*/ 69966 w 1292225"/>
                  <a:gd name="connsiteY495" fmla="*/ 709750 h 892175"/>
                  <a:gd name="connsiteX496" fmla="*/ 64255 w 1292225"/>
                  <a:gd name="connsiteY496" fmla="*/ 703336 h 892175"/>
                  <a:gd name="connsiteX497" fmla="*/ 62113 w 1292225"/>
                  <a:gd name="connsiteY497" fmla="*/ 700486 h 892175"/>
                  <a:gd name="connsiteX498" fmla="*/ 54973 w 1292225"/>
                  <a:gd name="connsiteY498" fmla="*/ 691935 h 892175"/>
                  <a:gd name="connsiteX499" fmla="*/ 54259 w 1292225"/>
                  <a:gd name="connsiteY499" fmla="*/ 691222 h 892175"/>
                  <a:gd name="connsiteX500" fmla="*/ 47834 w 1292225"/>
                  <a:gd name="connsiteY500" fmla="*/ 681246 h 892175"/>
                  <a:gd name="connsiteX501" fmla="*/ 45692 w 1292225"/>
                  <a:gd name="connsiteY501" fmla="*/ 679108 h 892175"/>
                  <a:gd name="connsiteX502" fmla="*/ 44978 w 1292225"/>
                  <a:gd name="connsiteY502" fmla="*/ 678395 h 892175"/>
                  <a:gd name="connsiteX503" fmla="*/ 40695 w 1292225"/>
                  <a:gd name="connsiteY503" fmla="*/ 671269 h 892175"/>
                  <a:gd name="connsiteX504" fmla="*/ 38553 w 1292225"/>
                  <a:gd name="connsiteY504" fmla="*/ 667706 h 892175"/>
                  <a:gd name="connsiteX505" fmla="*/ 34269 w 1292225"/>
                  <a:gd name="connsiteY505" fmla="*/ 660580 h 892175"/>
                  <a:gd name="connsiteX506" fmla="*/ 34269 w 1292225"/>
                  <a:gd name="connsiteY506" fmla="*/ 659868 h 892175"/>
                  <a:gd name="connsiteX507" fmla="*/ 32127 w 1292225"/>
                  <a:gd name="connsiteY507" fmla="*/ 657017 h 892175"/>
                  <a:gd name="connsiteX508" fmla="*/ 27844 w 1292225"/>
                  <a:gd name="connsiteY508" fmla="*/ 648466 h 892175"/>
                  <a:gd name="connsiteX509" fmla="*/ 27130 w 1292225"/>
                  <a:gd name="connsiteY509" fmla="*/ 646328 h 892175"/>
                  <a:gd name="connsiteX510" fmla="*/ 22132 w 1292225"/>
                  <a:gd name="connsiteY510" fmla="*/ 634927 h 892175"/>
                  <a:gd name="connsiteX511" fmla="*/ 20704 w 1292225"/>
                  <a:gd name="connsiteY511" fmla="*/ 632789 h 892175"/>
                  <a:gd name="connsiteX512" fmla="*/ 20704 w 1292225"/>
                  <a:gd name="connsiteY512" fmla="*/ 632076 h 892175"/>
                  <a:gd name="connsiteX513" fmla="*/ 17135 w 1292225"/>
                  <a:gd name="connsiteY513" fmla="*/ 623525 h 892175"/>
                  <a:gd name="connsiteX514" fmla="*/ 15707 w 1292225"/>
                  <a:gd name="connsiteY514" fmla="*/ 620675 h 892175"/>
                  <a:gd name="connsiteX515" fmla="*/ 15707 w 1292225"/>
                  <a:gd name="connsiteY515" fmla="*/ 619962 h 892175"/>
                  <a:gd name="connsiteX516" fmla="*/ 12851 w 1292225"/>
                  <a:gd name="connsiteY516" fmla="*/ 612123 h 892175"/>
                  <a:gd name="connsiteX517" fmla="*/ 12137 w 1292225"/>
                  <a:gd name="connsiteY517" fmla="*/ 607848 h 892175"/>
                  <a:gd name="connsiteX518" fmla="*/ 9281 w 1292225"/>
                  <a:gd name="connsiteY518" fmla="*/ 599297 h 892175"/>
                  <a:gd name="connsiteX519" fmla="*/ 9281 w 1292225"/>
                  <a:gd name="connsiteY519" fmla="*/ 598584 h 892175"/>
                  <a:gd name="connsiteX520" fmla="*/ 8567 w 1292225"/>
                  <a:gd name="connsiteY520" fmla="*/ 595734 h 892175"/>
                  <a:gd name="connsiteX521" fmla="*/ 5712 w 1292225"/>
                  <a:gd name="connsiteY521" fmla="*/ 583619 h 892175"/>
                  <a:gd name="connsiteX522" fmla="*/ 4998 w 1292225"/>
                  <a:gd name="connsiteY522" fmla="*/ 580769 h 892175"/>
                  <a:gd name="connsiteX523" fmla="*/ 3570 w 1292225"/>
                  <a:gd name="connsiteY523" fmla="*/ 571505 h 892175"/>
                  <a:gd name="connsiteX524" fmla="*/ 2856 w 1292225"/>
                  <a:gd name="connsiteY524" fmla="*/ 568655 h 892175"/>
                  <a:gd name="connsiteX525" fmla="*/ 2856 w 1292225"/>
                  <a:gd name="connsiteY525" fmla="*/ 567942 h 892175"/>
                  <a:gd name="connsiteX526" fmla="*/ 2856 w 1292225"/>
                  <a:gd name="connsiteY526" fmla="*/ 567230 h 892175"/>
                  <a:gd name="connsiteX527" fmla="*/ 1428 w 1292225"/>
                  <a:gd name="connsiteY527" fmla="*/ 558678 h 892175"/>
                  <a:gd name="connsiteX528" fmla="*/ 1428 w 1292225"/>
                  <a:gd name="connsiteY528" fmla="*/ 554403 h 892175"/>
                  <a:gd name="connsiteX529" fmla="*/ 714 w 1292225"/>
                  <a:gd name="connsiteY529" fmla="*/ 545852 h 892175"/>
                  <a:gd name="connsiteX530" fmla="*/ 714 w 1292225"/>
                  <a:gd name="connsiteY530" fmla="*/ 545139 h 892175"/>
                  <a:gd name="connsiteX531" fmla="*/ 0 w 1292225"/>
                  <a:gd name="connsiteY531" fmla="*/ 541576 h 892175"/>
                  <a:gd name="connsiteX532" fmla="*/ 0 w 1292225"/>
                  <a:gd name="connsiteY532" fmla="*/ 528749 h 892175"/>
                  <a:gd name="connsiteX533" fmla="*/ 67110 w 1292225"/>
                  <a:gd name="connsiteY533" fmla="*/ 350599 h 892175"/>
                  <a:gd name="connsiteX534" fmla="*/ 179912 w 1292225"/>
                  <a:gd name="connsiteY534" fmla="*/ 274351 h 892175"/>
                  <a:gd name="connsiteX535" fmla="*/ 480479 w 1292225"/>
                  <a:gd name="connsiteY535" fmla="*/ 0 h 8921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</a:cxnLst>
                <a:rect l="l" t="t" r="r" b="b"/>
                <a:pathLst>
                  <a:path w="1292225" h="892175">
                    <a:moveTo>
                      <a:pt x="479562" y="30162"/>
                    </a:moveTo>
                    <a:cubicBezTo>
                      <a:pt x="330953" y="30162"/>
                      <a:pt x="209494" y="149508"/>
                      <a:pt x="209494" y="297440"/>
                    </a:cubicBezTo>
                    <a:cubicBezTo>
                      <a:pt x="163053" y="309589"/>
                      <a:pt x="121614" y="335317"/>
                      <a:pt x="89463" y="371049"/>
                    </a:cubicBezTo>
                    <a:cubicBezTo>
                      <a:pt x="51596" y="414643"/>
                      <a:pt x="30162" y="470385"/>
                      <a:pt x="30162" y="528986"/>
                    </a:cubicBezTo>
                    <a:cubicBezTo>
                      <a:pt x="30162" y="532560"/>
                      <a:pt x="30162" y="536133"/>
                      <a:pt x="30162" y="540421"/>
                    </a:cubicBezTo>
                    <a:cubicBezTo>
                      <a:pt x="30162" y="541135"/>
                      <a:pt x="30877" y="541850"/>
                      <a:pt x="30877" y="543279"/>
                    </a:cubicBezTo>
                    <a:cubicBezTo>
                      <a:pt x="30877" y="543279"/>
                      <a:pt x="30877" y="543279"/>
                      <a:pt x="30877" y="543994"/>
                    </a:cubicBezTo>
                    <a:cubicBezTo>
                      <a:pt x="30877" y="546138"/>
                      <a:pt x="30877" y="548996"/>
                      <a:pt x="30877" y="551855"/>
                    </a:cubicBezTo>
                    <a:cubicBezTo>
                      <a:pt x="31591" y="552570"/>
                      <a:pt x="31591" y="553999"/>
                      <a:pt x="31591" y="555428"/>
                    </a:cubicBezTo>
                    <a:cubicBezTo>
                      <a:pt x="31591" y="558287"/>
                      <a:pt x="32306" y="560431"/>
                      <a:pt x="32306" y="563289"/>
                    </a:cubicBezTo>
                    <a:cubicBezTo>
                      <a:pt x="32306" y="563289"/>
                      <a:pt x="32306" y="563289"/>
                      <a:pt x="33020" y="564004"/>
                    </a:cubicBezTo>
                    <a:cubicBezTo>
                      <a:pt x="33020" y="564719"/>
                      <a:pt x="33020" y="566148"/>
                      <a:pt x="33020" y="566863"/>
                    </a:cubicBezTo>
                    <a:cubicBezTo>
                      <a:pt x="33735" y="569721"/>
                      <a:pt x="34449" y="572580"/>
                      <a:pt x="34449" y="575438"/>
                    </a:cubicBezTo>
                    <a:cubicBezTo>
                      <a:pt x="34449" y="575438"/>
                      <a:pt x="35164" y="576868"/>
                      <a:pt x="35164" y="577582"/>
                    </a:cubicBezTo>
                    <a:cubicBezTo>
                      <a:pt x="35878" y="581156"/>
                      <a:pt x="36592" y="584729"/>
                      <a:pt x="37307" y="588302"/>
                    </a:cubicBezTo>
                    <a:cubicBezTo>
                      <a:pt x="38021" y="589017"/>
                      <a:pt x="38021" y="589731"/>
                      <a:pt x="38021" y="590446"/>
                    </a:cubicBezTo>
                    <a:cubicBezTo>
                      <a:pt x="38021" y="590446"/>
                      <a:pt x="38021" y="590446"/>
                      <a:pt x="38736" y="591161"/>
                    </a:cubicBezTo>
                    <a:cubicBezTo>
                      <a:pt x="39450" y="594019"/>
                      <a:pt x="40165" y="596163"/>
                      <a:pt x="40879" y="599022"/>
                    </a:cubicBezTo>
                    <a:cubicBezTo>
                      <a:pt x="40879" y="599736"/>
                      <a:pt x="41594" y="602595"/>
                      <a:pt x="41594" y="602595"/>
                    </a:cubicBezTo>
                    <a:cubicBezTo>
                      <a:pt x="42308" y="604739"/>
                      <a:pt x="43023" y="606883"/>
                      <a:pt x="44452" y="609741"/>
                    </a:cubicBezTo>
                    <a:cubicBezTo>
                      <a:pt x="44452" y="609741"/>
                      <a:pt x="44452" y="609741"/>
                      <a:pt x="44452" y="610456"/>
                    </a:cubicBezTo>
                    <a:cubicBezTo>
                      <a:pt x="44452" y="611171"/>
                      <a:pt x="45166" y="611885"/>
                      <a:pt x="45166" y="613315"/>
                    </a:cubicBezTo>
                    <a:cubicBezTo>
                      <a:pt x="46595" y="615459"/>
                      <a:pt x="47309" y="618317"/>
                      <a:pt x="48024" y="620461"/>
                    </a:cubicBezTo>
                    <a:cubicBezTo>
                      <a:pt x="48024" y="620461"/>
                      <a:pt x="48024" y="620461"/>
                      <a:pt x="48738" y="621176"/>
                    </a:cubicBezTo>
                    <a:cubicBezTo>
                      <a:pt x="48738" y="621891"/>
                      <a:pt x="49453" y="622605"/>
                      <a:pt x="49453" y="623320"/>
                    </a:cubicBezTo>
                    <a:cubicBezTo>
                      <a:pt x="50882" y="626893"/>
                      <a:pt x="52311" y="629752"/>
                      <a:pt x="53740" y="633325"/>
                    </a:cubicBezTo>
                    <a:cubicBezTo>
                      <a:pt x="54454" y="633325"/>
                      <a:pt x="55169" y="634754"/>
                      <a:pt x="55169" y="634754"/>
                    </a:cubicBezTo>
                    <a:cubicBezTo>
                      <a:pt x="55883" y="637613"/>
                      <a:pt x="57312" y="639757"/>
                      <a:pt x="58741" y="642615"/>
                    </a:cubicBezTo>
                    <a:cubicBezTo>
                      <a:pt x="59455" y="643330"/>
                      <a:pt x="60170" y="644759"/>
                      <a:pt x="60170" y="645474"/>
                    </a:cubicBezTo>
                    <a:cubicBezTo>
                      <a:pt x="60170" y="645474"/>
                      <a:pt x="60170" y="645474"/>
                      <a:pt x="60884" y="645474"/>
                    </a:cubicBezTo>
                    <a:cubicBezTo>
                      <a:pt x="61599" y="647618"/>
                      <a:pt x="63028" y="649762"/>
                      <a:pt x="64457" y="651906"/>
                    </a:cubicBezTo>
                    <a:cubicBezTo>
                      <a:pt x="65171" y="653335"/>
                      <a:pt x="65886" y="654050"/>
                      <a:pt x="66600" y="655479"/>
                    </a:cubicBezTo>
                    <a:cubicBezTo>
                      <a:pt x="67315" y="657623"/>
                      <a:pt x="68743" y="659767"/>
                      <a:pt x="70172" y="661196"/>
                    </a:cubicBezTo>
                    <a:cubicBezTo>
                      <a:pt x="70172" y="661196"/>
                      <a:pt x="70172" y="661196"/>
                      <a:pt x="70887" y="661911"/>
                    </a:cubicBezTo>
                    <a:cubicBezTo>
                      <a:pt x="70887" y="662625"/>
                      <a:pt x="71601" y="663340"/>
                      <a:pt x="72316" y="664055"/>
                    </a:cubicBezTo>
                    <a:cubicBezTo>
                      <a:pt x="74459" y="667628"/>
                      <a:pt x="76603" y="670487"/>
                      <a:pt x="78032" y="672630"/>
                    </a:cubicBezTo>
                    <a:cubicBezTo>
                      <a:pt x="78746" y="673345"/>
                      <a:pt x="78746" y="673345"/>
                      <a:pt x="78746" y="673345"/>
                    </a:cubicBezTo>
                    <a:cubicBezTo>
                      <a:pt x="80889" y="676204"/>
                      <a:pt x="83033" y="678348"/>
                      <a:pt x="85176" y="681206"/>
                    </a:cubicBezTo>
                    <a:cubicBezTo>
                      <a:pt x="85176" y="681921"/>
                      <a:pt x="85891" y="682636"/>
                      <a:pt x="86605" y="683350"/>
                    </a:cubicBezTo>
                    <a:cubicBezTo>
                      <a:pt x="86605" y="683350"/>
                      <a:pt x="86605" y="683350"/>
                      <a:pt x="87320" y="684065"/>
                    </a:cubicBezTo>
                    <a:cubicBezTo>
                      <a:pt x="88749" y="685494"/>
                      <a:pt x="90178" y="687638"/>
                      <a:pt x="91606" y="689067"/>
                    </a:cubicBezTo>
                    <a:cubicBezTo>
                      <a:pt x="93035" y="690497"/>
                      <a:pt x="93750" y="691211"/>
                      <a:pt x="94464" y="691926"/>
                    </a:cubicBezTo>
                    <a:cubicBezTo>
                      <a:pt x="95893" y="694070"/>
                      <a:pt x="98037" y="695499"/>
                      <a:pt x="99466" y="697643"/>
                    </a:cubicBezTo>
                    <a:cubicBezTo>
                      <a:pt x="99466" y="697643"/>
                      <a:pt x="99466" y="697643"/>
                      <a:pt x="100180" y="697643"/>
                    </a:cubicBezTo>
                    <a:cubicBezTo>
                      <a:pt x="100895" y="698358"/>
                      <a:pt x="101609" y="699072"/>
                      <a:pt x="102323" y="699787"/>
                    </a:cubicBezTo>
                    <a:cubicBezTo>
                      <a:pt x="103752" y="701931"/>
                      <a:pt x="105896" y="704075"/>
                      <a:pt x="108039" y="705504"/>
                    </a:cubicBezTo>
                    <a:cubicBezTo>
                      <a:pt x="108039" y="705504"/>
                      <a:pt x="108039" y="705504"/>
                      <a:pt x="108754" y="706219"/>
                    </a:cubicBezTo>
                    <a:cubicBezTo>
                      <a:pt x="108754" y="706219"/>
                      <a:pt x="108754" y="706219"/>
                      <a:pt x="109468" y="706934"/>
                    </a:cubicBezTo>
                    <a:cubicBezTo>
                      <a:pt x="112326" y="709792"/>
                      <a:pt x="115184" y="711936"/>
                      <a:pt x="118042" y="714080"/>
                    </a:cubicBezTo>
                    <a:cubicBezTo>
                      <a:pt x="118756" y="714795"/>
                      <a:pt x="118756" y="714795"/>
                      <a:pt x="119471" y="715509"/>
                    </a:cubicBezTo>
                    <a:cubicBezTo>
                      <a:pt x="119471" y="715509"/>
                      <a:pt x="119471" y="715509"/>
                      <a:pt x="120185" y="716224"/>
                    </a:cubicBezTo>
                    <a:cubicBezTo>
                      <a:pt x="122329" y="717653"/>
                      <a:pt x="124472" y="719083"/>
                      <a:pt x="125901" y="720512"/>
                    </a:cubicBezTo>
                    <a:cubicBezTo>
                      <a:pt x="127330" y="721227"/>
                      <a:pt x="128044" y="721941"/>
                      <a:pt x="128759" y="722656"/>
                    </a:cubicBezTo>
                    <a:cubicBezTo>
                      <a:pt x="128759" y="722656"/>
                      <a:pt x="128759" y="722656"/>
                      <a:pt x="129473" y="723370"/>
                    </a:cubicBezTo>
                    <a:cubicBezTo>
                      <a:pt x="130902" y="724085"/>
                      <a:pt x="133046" y="725514"/>
                      <a:pt x="135189" y="726944"/>
                    </a:cubicBezTo>
                    <a:cubicBezTo>
                      <a:pt x="135189" y="726944"/>
                      <a:pt x="135189" y="726944"/>
                      <a:pt x="135189" y="727658"/>
                    </a:cubicBezTo>
                    <a:cubicBezTo>
                      <a:pt x="136618" y="727658"/>
                      <a:pt x="137332" y="728373"/>
                      <a:pt x="138047" y="729088"/>
                    </a:cubicBezTo>
                    <a:cubicBezTo>
                      <a:pt x="140190" y="730517"/>
                      <a:pt x="142334" y="731946"/>
                      <a:pt x="144477" y="733376"/>
                    </a:cubicBezTo>
                    <a:cubicBezTo>
                      <a:pt x="144477" y="733376"/>
                      <a:pt x="144477" y="733376"/>
                      <a:pt x="145192" y="733376"/>
                    </a:cubicBezTo>
                    <a:cubicBezTo>
                      <a:pt x="145906" y="734090"/>
                      <a:pt x="146620" y="734805"/>
                      <a:pt x="147335" y="734805"/>
                    </a:cubicBezTo>
                    <a:cubicBezTo>
                      <a:pt x="150193" y="736949"/>
                      <a:pt x="153765" y="738378"/>
                      <a:pt x="156623" y="739807"/>
                    </a:cubicBezTo>
                    <a:cubicBezTo>
                      <a:pt x="157337" y="740522"/>
                      <a:pt x="158052" y="740522"/>
                      <a:pt x="158766" y="741237"/>
                    </a:cubicBezTo>
                    <a:cubicBezTo>
                      <a:pt x="161624" y="742666"/>
                      <a:pt x="163768" y="744095"/>
                      <a:pt x="165911" y="744810"/>
                    </a:cubicBezTo>
                    <a:cubicBezTo>
                      <a:pt x="167340" y="745525"/>
                      <a:pt x="168054" y="746239"/>
                      <a:pt x="168769" y="746239"/>
                    </a:cubicBezTo>
                    <a:cubicBezTo>
                      <a:pt x="168769" y="746239"/>
                      <a:pt x="168769" y="746239"/>
                      <a:pt x="169483" y="746954"/>
                    </a:cubicBezTo>
                    <a:cubicBezTo>
                      <a:pt x="171627" y="747669"/>
                      <a:pt x="173770" y="748383"/>
                      <a:pt x="175914" y="749812"/>
                    </a:cubicBezTo>
                    <a:cubicBezTo>
                      <a:pt x="177343" y="749812"/>
                      <a:pt x="178771" y="750527"/>
                      <a:pt x="180200" y="751242"/>
                    </a:cubicBezTo>
                    <a:cubicBezTo>
                      <a:pt x="182344" y="751956"/>
                      <a:pt x="184487" y="752671"/>
                      <a:pt x="186631" y="754100"/>
                    </a:cubicBezTo>
                    <a:cubicBezTo>
                      <a:pt x="186631" y="754100"/>
                      <a:pt x="186631" y="754100"/>
                      <a:pt x="187345" y="754100"/>
                    </a:cubicBezTo>
                    <a:cubicBezTo>
                      <a:pt x="188060" y="754100"/>
                      <a:pt x="188774" y="754815"/>
                      <a:pt x="189488" y="754815"/>
                    </a:cubicBezTo>
                    <a:cubicBezTo>
                      <a:pt x="189488" y="754815"/>
                      <a:pt x="190917" y="756959"/>
                      <a:pt x="191632" y="757674"/>
                    </a:cubicBezTo>
                    <a:cubicBezTo>
                      <a:pt x="193775" y="760532"/>
                      <a:pt x="195919" y="763391"/>
                      <a:pt x="198062" y="765535"/>
                    </a:cubicBezTo>
                    <a:cubicBezTo>
                      <a:pt x="198777" y="766249"/>
                      <a:pt x="199491" y="766964"/>
                      <a:pt x="199491" y="767679"/>
                    </a:cubicBezTo>
                    <a:cubicBezTo>
                      <a:pt x="199491" y="767679"/>
                      <a:pt x="199491" y="767679"/>
                      <a:pt x="200206" y="768393"/>
                    </a:cubicBezTo>
                    <a:cubicBezTo>
                      <a:pt x="202349" y="770537"/>
                      <a:pt x="203778" y="772681"/>
                      <a:pt x="205921" y="774825"/>
                    </a:cubicBezTo>
                    <a:cubicBezTo>
                      <a:pt x="205921" y="774825"/>
                      <a:pt x="207350" y="776254"/>
                      <a:pt x="207350" y="776969"/>
                    </a:cubicBezTo>
                    <a:cubicBezTo>
                      <a:pt x="209494" y="779113"/>
                      <a:pt x="212351" y="781257"/>
                      <a:pt x="214495" y="784116"/>
                    </a:cubicBezTo>
                    <a:cubicBezTo>
                      <a:pt x="215209" y="784830"/>
                      <a:pt x="216638" y="785545"/>
                      <a:pt x="217353" y="786974"/>
                    </a:cubicBezTo>
                    <a:cubicBezTo>
                      <a:pt x="219496" y="789118"/>
                      <a:pt x="222354" y="791262"/>
                      <a:pt x="224497" y="793406"/>
                    </a:cubicBezTo>
                    <a:cubicBezTo>
                      <a:pt x="225212" y="794121"/>
                      <a:pt x="225926" y="795550"/>
                      <a:pt x="225926" y="795550"/>
                    </a:cubicBezTo>
                    <a:cubicBezTo>
                      <a:pt x="228070" y="796979"/>
                      <a:pt x="230928" y="799123"/>
                      <a:pt x="233071" y="801267"/>
                    </a:cubicBezTo>
                    <a:cubicBezTo>
                      <a:pt x="233071" y="801267"/>
                      <a:pt x="234500" y="802696"/>
                      <a:pt x="235214" y="803411"/>
                    </a:cubicBezTo>
                    <a:cubicBezTo>
                      <a:pt x="238072" y="805555"/>
                      <a:pt x="240930" y="807699"/>
                      <a:pt x="243788" y="809128"/>
                    </a:cubicBezTo>
                    <a:cubicBezTo>
                      <a:pt x="243788" y="809843"/>
                      <a:pt x="244502" y="810558"/>
                      <a:pt x="245217" y="810558"/>
                    </a:cubicBezTo>
                    <a:cubicBezTo>
                      <a:pt x="245217" y="810558"/>
                      <a:pt x="245217" y="810558"/>
                      <a:pt x="245931" y="811272"/>
                    </a:cubicBezTo>
                    <a:cubicBezTo>
                      <a:pt x="248075" y="812701"/>
                      <a:pt x="250933" y="814845"/>
                      <a:pt x="253076" y="816275"/>
                    </a:cubicBezTo>
                    <a:cubicBezTo>
                      <a:pt x="253076" y="816275"/>
                      <a:pt x="254505" y="817704"/>
                      <a:pt x="255219" y="817704"/>
                    </a:cubicBezTo>
                    <a:cubicBezTo>
                      <a:pt x="258077" y="819848"/>
                      <a:pt x="260935" y="821277"/>
                      <a:pt x="263793" y="823421"/>
                    </a:cubicBezTo>
                    <a:cubicBezTo>
                      <a:pt x="265222" y="824136"/>
                      <a:pt x="265937" y="824850"/>
                      <a:pt x="266651" y="824850"/>
                    </a:cubicBezTo>
                    <a:cubicBezTo>
                      <a:pt x="270223" y="826994"/>
                      <a:pt x="273081" y="829138"/>
                      <a:pt x="275939" y="830568"/>
                    </a:cubicBezTo>
                    <a:cubicBezTo>
                      <a:pt x="276654" y="830568"/>
                      <a:pt x="276654" y="830568"/>
                      <a:pt x="277368" y="831282"/>
                    </a:cubicBezTo>
                    <a:cubicBezTo>
                      <a:pt x="280226" y="832712"/>
                      <a:pt x="283084" y="834141"/>
                      <a:pt x="285942" y="835570"/>
                    </a:cubicBezTo>
                    <a:cubicBezTo>
                      <a:pt x="285942" y="835570"/>
                      <a:pt x="288085" y="836285"/>
                      <a:pt x="288799" y="836999"/>
                    </a:cubicBezTo>
                    <a:cubicBezTo>
                      <a:pt x="291657" y="838429"/>
                      <a:pt x="295230" y="839858"/>
                      <a:pt x="298802" y="841287"/>
                    </a:cubicBezTo>
                    <a:cubicBezTo>
                      <a:pt x="298802" y="841287"/>
                      <a:pt x="298802" y="841287"/>
                      <a:pt x="300945" y="842002"/>
                    </a:cubicBezTo>
                    <a:cubicBezTo>
                      <a:pt x="303803" y="843431"/>
                      <a:pt x="306661" y="844861"/>
                      <a:pt x="309519" y="845575"/>
                    </a:cubicBezTo>
                    <a:cubicBezTo>
                      <a:pt x="309519" y="845575"/>
                      <a:pt x="309519" y="845575"/>
                      <a:pt x="311662" y="846290"/>
                    </a:cubicBezTo>
                    <a:cubicBezTo>
                      <a:pt x="315235" y="847719"/>
                      <a:pt x="318807" y="849148"/>
                      <a:pt x="322379" y="849863"/>
                    </a:cubicBezTo>
                    <a:cubicBezTo>
                      <a:pt x="322379" y="849863"/>
                      <a:pt x="322379" y="849863"/>
                      <a:pt x="324523" y="850578"/>
                    </a:cubicBezTo>
                    <a:cubicBezTo>
                      <a:pt x="328810" y="852007"/>
                      <a:pt x="332382" y="853436"/>
                      <a:pt x="335240" y="854151"/>
                    </a:cubicBezTo>
                    <a:cubicBezTo>
                      <a:pt x="335954" y="854151"/>
                      <a:pt x="335954" y="854151"/>
                      <a:pt x="336669" y="854151"/>
                    </a:cubicBezTo>
                    <a:cubicBezTo>
                      <a:pt x="339527" y="854866"/>
                      <a:pt x="343099" y="855580"/>
                      <a:pt x="347386" y="857010"/>
                    </a:cubicBezTo>
                    <a:cubicBezTo>
                      <a:pt x="347386" y="857010"/>
                      <a:pt x="347386" y="857010"/>
                      <a:pt x="349529" y="857010"/>
                    </a:cubicBezTo>
                    <a:cubicBezTo>
                      <a:pt x="353102" y="857724"/>
                      <a:pt x="357388" y="858439"/>
                      <a:pt x="360961" y="859154"/>
                    </a:cubicBezTo>
                    <a:cubicBezTo>
                      <a:pt x="360961" y="859154"/>
                      <a:pt x="360961" y="859154"/>
                      <a:pt x="363104" y="859154"/>
                    </a:cubicBezTo>
                    <a:cubicBezTo>
                      <a:pt x="365962" y="859868"/>
                      <a:pt x="369534" y="860583"/>
                      <a:pt x="373107" y="860583"/>
                    </a:cubicBezTo>
                    <a:cubicBezTo>
                      <a:pt x="373107" y="860583"/>
                      <a:pt x="373107" y="860583"/>
                      <a:pt x="375250" y="861298"/>
                    </a:cubicBezTo>
                    <a:cubicBezTo>
                      <a:pt x="378822" y="861298"/>
                      <a:pt x="383109" y="862012"/>
                      <a:pt x="386682" y="862012"/>
                    </a:cubicBezTo>
                    <a:cubicBezTo>
                      <a:pt x="387396" y="862012"/>
                      <a:pt x="388825" y="862012"/>
                      <a:pt x="389539" y="862012"/>
                    </a:cubicBezTo>
                    <a:cubicBezTo>
                      <a:pt x="393826" y="862012"/>
                      <a:pt x="397399" y="862012"/>
                      <a:pt x="401685" y="862012"/>
                    </a:cubicBezTo>
                    <a:cubicBezTo>
                      <a:pt x="405258" y="862012"/>
                      <a:pt x="409544" y="862012"/>
                      <a:pt x="414546" y="862012"/>
                    </a:cubicBezTo>
                    <a:cubicBezTo>
                      <a:pt x="414546" y="862012"/>
                      <a:pt x="414546" y="862012"/>
                      <a:pt x="415260" y="862012"/>
                    </a:cubicBezTo>
                    <a:cubicBezTo>
                      <a:pt x="418833" y="862012"/>
                      <a:pt x="423119" y="861298"/>
                      <a:pt x="425977" y="861298"/>
                    </a:cubicBezTo>
                    <a:cubicBezTo>
                      <a:pt x="425977" y="861298"/>
                      <a:pt x="425977" y="861298"/>
                      <a:pt x="428121" y="860583"/>
                    </a:cubicBezTo>
                    <a:cubicBezTo>
                      <a:pt x="432407" y="860583"/>
                      <a:pt x="435980" y="859868"/>
                      <a:pt x="439552" y="859154"/>
                    </a:cubicBezTo>
                    <a:cubicBezTo>
                      <a:pt x="439552" y="859154"/>
                      <a:pt x="439552" y="859154"/>
                      <a:pt x="441696" y="859154"/>
                    </a:cubicBezTo>
                    <a:cubicBezTo>
                      <a:pt x="445982" y="858439"/>
                      <a:pt x="449555" y="857724"/>
                      <a:pt x="452413" y="857010"/>
                    </a:cubicBezTo>
                    <a:cubicBezTo>
                      <a:pt x="453127" y="857010"/>
                      <a:pt x="455270" y="857010"/>
                      <a:pt x="455270" y="857010"/>
                    </a:cubicBezTo>
                    <a:cubicBezTo>
                      <a:pt x="458843" y="855580"/>
                      <a:pt x="462415" y="854866"/>
                      <a:pt x="465987" y="854151"/>
                    </a:cubicBezTo>
                    <a:cubicBezTo>
                      <a:pt x="465987" y="854151"/>
                      <a:pt x="465987" y="854151"/>
                      <a:pt x="468131" y="853436"/>
                    </a:cubicBezTo>
                    <a:cubicBezTo>
                      <a:pt x="470989" y="852722"/>
                      <a:pt x="473847" y="852007"/>
                      <a:pt x="477419" y="851292"/>
                    </a:cubicBezTo>
                    <a:cubicBezTo>
                      <a:pt x="477419" y="851292"/>
                      <a:pt x="478848" y="850578"/>
                      <a:pt x="479562" y="849863"/>
                    </a:cubicBezTo>
                    <a:cubicBezTo>
                      <a:pt x="483135" y="849148"/>
                      <a:pt x="485992" y="848434"/>
                      <a:pt x="488850" y="847005"/>
                    </a:cubicBezTo>
                    <a:cubicBezTo>
                      <a:pt x="488850" y="847005"/>
                      <a:pt x="488850" y="847005"/>
                      <a:pt x="489565" y="847005"/>
                    </a:cubicBezTo>
                    <a:cubicBezTo>
                      <a:pt x="490279" y="846290"/>
                      <a:pt x="490994" y="846290"/>
                      <a:pt x="492423" y="845575"/>
                    </a:cubicBezTo>
                    <a:cubicBezTo>
                      <a:pt x="495281" y="844861"/>
                      <a:pt x="498138" y="843431"/>
                      <a:pt x="500996" y="842717"/>
                    </a:cubicBezTo>
                    <a:cubicBezTo>
                      <a:pt x="502425" y="842002"/>
                      <a:pt x="503140" y="841287"/>
                      <a:pt x="504569" y="840573"/>
                    </a:cubicBezTo>
                    <a:cubicBezTo>
                      <a:pt x="507427" y="839858"/>
                      <a:pt x="510284" y="838429"/>
                      <a:pt x="512428" y="836999"/>
                    </a:cubicBezTo>
                    <a:cubicBezTo>
                      <a:pt x="513857" y="836285"/>
                      <a:pt x="515286" y="835570"/>
                      <a:pt x="516715" y="834856"/>
                    </a:cubicBezTo>
                    <a:cubicBezTo>
                      <a:pt x="518858" y="834141"/>
                      <a:pt x="521001" y="833426"/>
                      <a:pt x="523145" y="831997"/>
                    </a:cubicBezTo>
                    <a:cubicBezTo>
                      <a:pt x="525288" y="831282"/>
                      <a:pt x="526717" y="829853"/>
                      <a:pt x="528861" y="829138"/>
                    </a:cubicBezTo>
                    <a:cubicBezTo>
                      <a:pt x="530289" y="827709"/>
                      <a:pt x="531718" y="826994"/>
                      <a:pt x="533147" y="826280"/>
                    </a:cubicBezTo>
                    <a:cubicBezTo>
                      <a:pt x="536005" y="824850"/>
                      <a:pt x="538149" y="823421"/>
                      <a:pt x="541006" y="821992"/>
                    </a:cubicBezTo>
                    <a:cubicBezTo>
                      <a:pt x="541721" y="821277"/>
                      <a:pt x="543150" y="820563"/>
                      <a:pt x="543864" y="819848"/>
                    </a:cubicBezTo>
                    <a:cubicBezTo>
                      <a:pt x="546722" y="817704"/>
                      <a:pt x="549580" y="816275"/>
                      <a:pt x="552438" y="814131"/>
                    </a:cubicBezTo>
                    <a:cubicBezTo>
                      <a:pt x="552438" y="814131"/>
                      <a:pt x="553867" y="812701"/>
                      <a:pt x="554581" y="812701"/>
                    </a:cubicBezTo>
                    <a:cubicBezTo>
                      <a:pt x="563155" y="806270"/>
                      <a:pt x="571014" y="799838"/>
                      <a:pt x="578159" y="793406"/>
                    </a:cubicBezTo>
                    <a:cubicBezTo>
                      <a:pt x="580302" y="794121"/>
                      <a:pt x="581731" y="795550"/>
                      <a:pt x="583875" y="796979"/>
                    </a:cubicBezTo>
                    <a:cubicBezTo>
                      <a:pt x="583875" y="796979"/>
                      <a:pt x="583875" y="796979"/>
                      <a:pt x="585303" y="798409"/>
                    </a:cubicBezTo>
                    <a:cubicBezTo>
                      <a:pt x="585303" y="798409"/>
                      <a:pt x="585303" y="798409"/>
                      <a:pt x="586732" y="799123"/>
                    </a:cubicBezTo>
                    <a:cubicBezTo>
                      <a:pt x="588876" y="800552"/>
                      <a:pt x="591734" y="801982"/>
                      <a:pt x="593877" y="803411"/>
                    </a:cubicBezTo>
                    <a:cubicBezTo>
                      <a:pt x="596735" y="804840"/>
                      <a:pt x="599593" y="806984"/>
                      <a:pt x="602451" y="808414"/>
                    </a:cubicBezTo>
                    <a:cubicBezTo>
                      <a:pt x="602451" y="808414"/>
                      <a:pt x="602451" y="808414"/>
                      <a:pt x="603165" y="808414"/>
                    </a:cubicBezTo>
                    <a:cubicBezTo>
                      <a:pt x="606023" y="809843"/>
                      <a:pt x="608881" y="811272"/>
                      <a:pt x="611739" y="812701"/>
                    </a:cubicBezTo>
                    <a:cubicBezTo>
                      <a:pt x="611739" y="812701"/>
                      <a:pt x="612453" y="812701"/>
                      <a:pt x="612453" y="813416"/>
                    </a:cubicBezTo>
                    <a:cubicBezTo>
                      <a:pt x="615311" y="814845"/>
                      <a:pt x="618169" y="815560"/>
                      <a:pt x="621027" y="816989"/>
                    </a:cubicBezTo>
                    <a:cubicBezTo>
                      <a:pt x="621027" y="816989"/>
                      <a:pt x="621741" y="816989"/>
                      <a:pt x="622456" y="817704"/>
                    </a:cubicBezTo>
                    <a:cubicBezTo>
                      <a:pt x="624599" y="818419"/>
                      <a:pt x="627457" y="819848"/>
                      <a:pt x="630315" y="820563"/>
                    </a:cubicBezTo>
                    <a:cubicBezTo>
                      <a:pt x="631029" y="820563"/>
                      <a:pt x="631029" y="820563"/>
                      <a:pt x="632458" y="821277"/>
                    </a:cubicBezTo>
                    <a:cubicBezTo>
                      <a:pt x="634602" y="821992"/>
                      <a:pt x="637460" y="822707"/>
                      <a:pt x="640317" y="824136"/>
                    </a:cubicBezTo>
                    <a:cubicBezTo>
                      <a:pt x="640317" y="824136"/>
                      <a:pt x="641032" y="824136"/>
                      <a:pt x="641746" y="824136"/>
                    </a:cubicBezTo>
                    <a:cubicBezTo>
                      <a:pt x="641746" y="824136"/>
                      <a:pt x="641746" y="824136"/>
                      <a:pt x="642461" y="824850"/>
                    </a:cubicBezTo>
                    <a:cubicBezTo>
                      <a:pt x="645319" y="825565"/>
                      <a:pt x="647462" y="826280"/>
                      <a:pt x="649606" y="826280"/>
                    </a:cubicBezTo>
                    <a:cubicBezTo>
                      <a:pt x="650320" y="826994"/>
                      <a:pt x="651749" y="826994"/>
                      <a:pt x="652463" y="826994"/>
                    </a:cubicBezTo>
                    <a:cubicBezTo>
                      <a:pt x="652463" y="826994"/>
                      <a:pt x="652463" y="826994"/>
                      <a:pt x="653892" y="827709"/>
                    </a:cubicBezTo>
                    <a:cubicBezTo>
                      <a:pt x="656036" y="827709"/>
                      <a:pt x="658179" y="828424"/>
                      <a:pt x="659608" y="829138"/>
                    </a:cubicBezTo>
                    <a:cubicBezTo>
                      <a:pt x="661037" y="829138"/>
                      <a:pt x="661751" y="829138"/>
                      <a:pt x="663180" y="829138"/>
                    </a:cubicBezTo>
                    <a:cubicBezTo>
                      <a:pt x="663180" y="829138"/>
                      <a:pt x="663180" y="829138"/>
                      <a:pt x="665324" y="829853"/>
                    </a:cubicBezTo>
                    <a:cubicBezTo>
                      <a:pt x="666753" y="829853"/>
                      <a:pt x="668182" y="830568"/>
                      <a:pt x="670325" y="830568"/>
                    </a:cubicBezTo>
                    <a:cubicBezTo>
                      <a:pt x="671754" y="830568"/>
                      <a:pt x="673183" y="831282"/>
                      <a:pt x="673897" y="831282"/>
                    </a:cubicBezTo>
                    <a:cubicBezTo>
                      <a:pt x="673897" y="831282"/>
                      <a:pt x="673897" y="831282"/>
                      <a:pt x="676755" y="831282"/>
                    </a:cubicBezTo>
                    <a:cubicBezTo>
                      <a:pt x="678184" y="831997"/>
                      <a:pt x="679613" y="831997"/>
                      <a:pt x="681042" y="831997"/>
                    </a:cubicBezTo>
                    <a:cubicBezTo>
                      <a:pt x="682471" y="831997"/>
                      <a:pt x="684614" y="831997"/>
                      <a:pt x="686043" y="832712"/>
                    </a:cubicBezTo>
                    <a:cubicBezTo>
                      <a:pt x="686043" y="832712"/>
                      <a:pt x="686043" y="832712"/>
                      <a:pt x="688187" y="832712"/>
                    </a:cubicBezTo>
                    <a:cubicBezTo>
                      <a:pt x="689616" y="832712"/>
                      <a:pt x="690330" y="832712"/>
                      <a:pt x="691759" y="832712"/>
                    </a:cubicBezTo>
                    <a:cubicBezTo>
                      <a:pt x="695331" y="832712"/>
                      <a:pt x="698904" y="833426"/>
                      <a:pt x="702476" y="833426"/>
                    </a:cubicBezTo>
                    <a:cubicBezTo>
                      <a:pt x="706048" y="833426"/>
                      <a:pt x="709621" y="832712"/>
                      <a:pt x="712479" y="832712"/>
                    </a:cubicBezTo>
                    <a:cubicBezTo>
                      <a:pt x="713908" y="832712"/>
                      <a:pt x="714622" y="832712"/>
                      <a:pt x="716051" y="832712"/>
                    </a:cubicBezTo>
                    <a:cubicBezTo>
                      <a:pt x="716051" y="832712"/>
                      <a:pt x="716051" y="832712"/>
                      <a:pt x="717480" y="832712"/>
                    </a:cubicBezTo>
                    <a:cubicBezTo>
                      <a:pt x="719623" y="832712"/>
                      <a:pt x="721767" y="831997"/>
                      <a:pt x="723196" y="831997"/>
                    </a:cubicBezTo>
                    <a:cubicBezTo>
                      <a:pt x="724625" y="831997"/>
                      <a:pt x="726054" y="831997"/>
                      <a:pt x="726768" y="831282"/>
                    </a:cubicBezTo>
                    <a:cubicBezTo>
                      <a:pt x="726768" y="831282"/>
                      <a:pt x="726768" y="831282"/>
                      <a:pt x="728911" y="831282"/>
                    </a:cubicBezTo>
                    <a:cubicBezTo>
                      <a:pt x="731055" y="831282"/>
                      <a:pt x="732484" y="831282"/>
                      <a:pt x="733913" y="830568"/>
                    </a:cubicBezTo>
                    <a:cubicBezTo>
                      <a:pt x="735342" y="830568"/>
                      <a:pt x="736771" y="830568"/>
                      <a:pt x="737485" y="829853"/>
                    </a:cubicBezTo>
                    <a:cubicBezTo>
                      <a:pt x="737485" y="829853"/>
                      <a:pt x="737485" y="829853"/>
                      <a:pt x="739628" y="829853"/>
                    </a:cubicBezTo>
                    <a:cubicBezTo>
                      <a:pt x="741057" y="829138"/>
                      <a:pt x="742486" y="829138"/>
                      <a:pt x="743915" y="829138"/>
                    </a:cubicBezTo>
                    <a:cubicBezTo>
                      <a:pt x="745344" y="828424"/>
                      <a:pt x="746773" y="828424"/>
                      <a:pt x="748202" y="827709"/>
                    </a:cubicBezTo>
                    <a:cubicBezTo>
                      <a:pt x="748202" y="827709"/>
                      <a:pt x="748202" y="827709"/>
                      <a:pt x="750345" y="827709"/>
                    </a:cubicBezTo>
                    <a:cubicBezTo>
                      <a:pt x="751774" y="826994"/>
                      <a:pt x="752489" y="826994"/>
                      <a:pt x="753918" y="826994"/>
                    </a:cubicBezTo>
                    <a:cubicBezTo>
                      <a:pt x="755347" y="826280"/>
                      <a:pt x="757490" y="825565"/>
                      <a:pt x="758919" y="825565"/>
                    </a:cubicBezTo>
                    <a:cubicBezTo>
                      <a:pt x="758919" y="825565"/>
                      <a:pt x="758919" y="825565"/>
                      <a:pt x="760348" y="824850"/>
                    </a:cubicBezTo>
                    <a:cubicBezTo>
                      <a:pt x="761777" y="824850"/>
                      <a:pt x="762491" y="824136"/>
                      <a:pt x="763920" y="824136"/>
                    </a:cubicBezTo>
                    <a:cubicBezTo>
                      <a:pt x="765349" y="823421"/>
                      <a:pt x="767493" y="822707"/>
                      <a:pt x="769636" y="821992"/>
                    </a:cubicBezTo>
                    <a:cubicBezTo>
                      <a:pt x="771065" y="821277"/>
                      <a:pt x="772494" y="821277"/>
                      <a:pt x="773208" y="820563"/>
                    </a:cubicBezTo>
                    <a:cubicBezTo>
                      <a:pt x="775352" y="819848"/>
                      <a:pt x="777495" y="819133"/>
                      <a:pt x="778924" y="818419"/>
                    </a:cubicBezTo>
                    <a:cubicBezTo>
                      <a:pt x="778924" y="818419"/>
                      <a:pt x="778924" y="818419"/>
                      <a:pt x="779639" y="818419"/>
                    </a:cubicBezTo>
                    <a:cubicBezTo>
                      <a:pt x="780353" y="818419"/>
                      <a:pt x="781782" y="817704"/>
                      <a:pt x="782496" y="816989"/>
                    </a:cubicBezTo>
                    <a:cubicBezTo>
                      <a:pt x="784640" y="816275"/>
                      <a:pt x="786783" y="815560"/>
                      <a:pt x="788927" y="814845"/>
                    </a:cubicBezTo>
                    <a:cubicBezTo>
                      <a:pt x="789641" y="814131"/>
                      <a:pt x="791070" y="813416"/>
                      <a:pt x="791785" y="813416"/>
                    </a:cubicBezTo>
                    <a:cubicBezTo>
                      <a:pt x="793928" y="812701"/>
                      <a:pt x="796071" y="811272"/>
                      <a:pt x="798215" y="810558"/>
                    </a:cubicBezTo>
                    <a:cubicBezTo>
                      <a:pt x="798215" y="810558"/>
                      <a:pt x="799644" y="809128"/>
                      <a:pt x="800358" y="809128"/>
                    </a:cubicBezTo>
                    <a:cubicBezTo>
                      <a:pt x="802502" y="807699"/>
                      <a:pt x="804645" y="806984"/>
                      <a:pt x="806788" y="805555"/>
                    </a:cubicBezTo>
                    <a:cubicBezTo>
                      <a:pt x="806788" y="805555"/>
                      <a:pt x="806788" y="805555"/>
                      <a:pt x="808932" y="804126"/>
                    </a:cubicBezTo>
                    <a:cubicBezTo>
                      <a:pt x="811075" y="802696"/>
                      <a:pt x="813219" y="801982"/>
                      <a:pt x="815362" y="800552"/>
                    </a:cubicBezTo>
                    <a:cubicBezTo>
                      <a:pt x="816076" y="799838"/>
                      <a:pt x="816791" y="799838"/>
                      <a:pt x="817505" y="799123"/>
                    </a:cubicBezTo>
                    <a:cubicBezTo>
                      <a:pt x="819649" y="797694"/>
                      <a:pt x="821792" y="796265"/>
                      <a:pt x="823936" y="794835"/>
                    </a:cubicBezTo>
                    <a:cubicBezTo>
                      <a:pt x="823936" y="794835"/>
                      <a:pt x="823936" y="794835"/>
                      <a:pt x="825365" y="794121"/>
                    </a:cubicBezTo>
                    <a:cubicBezTo>
                      <a:pt x="826079" y="792691"/>
                      <a:pt x="827508" y="791977"/>
                      <a:pt x="828937" y="791262"/>
                    </a:cubicBezTo>
                    <a:cubicBezTo>
                      <a:pt x="830366" y="791977"/>
                      <a:pt x="831795" y="792691"/>
                      <a:pt x="833224" y="793406"/>
                    </a:cubicBezTo>
                    <a:cubicBezTo>
                      <a:pt x="835367" y="794121"/>
                      <a:pt x="836796" y="794835"/>
                      <a:pt x="838939" y="795550"/>
                    </a:cubicBezTo>
                    <a:cubicBezTo>
                      <a:pt x="839654" y="796265"/>
                      <a:pt x="841083" y="796979"/>
                      <a:pt x="841797" y="796979"/>
                    </a:cubicBezTo>
                    <a:cubicBezTo>
                      <a:pt x="841797" y="796979"/>
                      <a:pt x="841797" y="796979"/>
                      <a:pt x="842512" y="797694"/>
                    </a:cubicBezTo>
                    <a:cubicBezTo>
                      <a:pt x="843941" y="797694"/>
                      <a:pt x="845370" y="798409"/>
                      <a:pt x="846799" y="799123"/>
                    </a:cubicBezTo>
                    <a:cubicBezTo>
                      <a:pt x="848227" y="799123"/>
                      <a:pt x="848942" y="799838"/>
                      <a:pt x="850371" y="800552"/>
                    </a:cubicBezTo>
                    <a:cubicBezTo>
                      <a:pt x="851800" y="801267"/>
                      <a:pt x="853943" y="801267"/>
                      <a:pt x="855372" y="801982"/>
                    </a:cubicBezTo>
                    <a:cubicBezTo>
                      <a:pt x="855372" y="801982"/>
                      <a:pt x="855372" y="801982"/>
                      <a:pt x="856087" y="801982"/>
                    </a:cubicBezTo>
                    <a:cubicBezTo>
                      <a:pt x="856801" y="802696"/>
                      <a:pt x="857516" y="802696"/>
                      <a:pt x="858230" y="802696"/>
                    </a:cubicBezTo>
                    <a:cubicBezTo>
                      <a:pt x="861088" y="804126"/>
                      <a:pt x="863231" y="804840"/>
                      <a:pt x="865375" y="804840"/>
                    </a:cubicBezTo>
                    <a:cubicBezTo>
                      <a:pt x="866089" y="805555"/>
                      <a:pt x="866804" y="805555"/>
                      <a:pt x="868233" y="805555"/>
                    </a:cubicBezTo>
                    <a:cubicBezTo>
                      <a:pt x="868233" y="805555"/>
                      <a:pt x="868233" y="805555"/>
                      <a:pt x="868233" y="806270"/>
                    </a:cubicBezTo>
                    <a:cubicBezTo>
                      <a:pt x="870376" y="806270"/>
                      <a:pt x="871805" y="806984"/>
                      <a:pt x="873948" y="806984"/>
                    </a:cubicBezTo>
                    <a:cubicBezTo>
                      <a:pt x="874663" y="807699"/>
                      <a:pt x="876092" y="807699"/>
                      <a:pt x="876806" y="807699"/>
                    </a:cubicBezTo>
                    <a:cubicBezTo>
                      <a:pt x="878950" y="808414"/>
                      <a:pt x="881807" y="808414"/>
                      <a:pt x="883951" y="809128"/>
                    </a:cubicBezTo>
                    <a:cubicBezTo>
                      <a:pt x="884665" y="809128"/>
                      <a:pt x="884665" y="809128"/>
                      <a:pt x="885380" y="809128"/>
                    </a:cubicBezTo>
                    <a:cubicBezTo>
                      <a:pt x="888238" y="809843"/>
                      <a:pt x="891096" y="809843"/>
                      <a:pt x="893953" y="810558"/>
                    </a:cubicBezTo>
                    <a:cubicBezTo>
                      <a:pt x="894668" y="810558"/>
                      <a:pt x="896811" y="810558"/>
                      <a:pt x="896811" y="810558"/>
                    </a:cubicBezTo>
                    <a:cubicBezTo>
                      <a:pt x="898955" y="811272"/>
                      <a:pt x="901098" y="811272"/>
                      <a:pt x="903241" y="811272"/>
                    </a:cubicBezTo>
                    <a:cubicBezTo>
                      <a:pt x="903241" y="811272"/>
                      <a:pt x="905385" y="811272"/>
                      <a:pt x="906099" y="811272"/>
                    </a:cubicBezTo>
                    <a:cubicBezTo>
                      <a:pt x="908957" y="811272"/>
                      <a:pt x="911101" y="811272"/>
                      <a:pt x="913958" y="811272"/>
                    </a:cubicBezTo>
                    <a:cubicBezTo>
                      <a:pt x="913958" y="811272"/>
                      <a:pt x="913958" y="811272"/>
                      <a:pt x="915387" y="811272"/>
                    </a:cubicBezTo>
                    <a:cubicBezTo>
                      <a:pt x="918960" y="811272"/>
                      <a:pt x="921818" y="811272"/>
                      <a:pt x="923961" y="811272"/>
                    </a:cubicBezTo>
                    <a:cubicBezTo>
                      <a:pt x="925390" y="811272"/>
                      <a:pt x="926104" y="811272"/>
                      <a:pt x="926819" y="811272"/>
                    </a:cubicBezTo>
                    <a:cubicBezTo>
                      <a:pt x="926819" y="811272"/>
                      <a:pt x="926819" y="811272"/>
                      <a:pt x="928248" y="811272"/>
                    </a:cubicBezTo>
                    <a:cubicBezTo>
                      <a:pt x="929677" y="811272"/>
                      <a:pt x="931820" y="810558"/>
                      <a:pt x="933964" y="810558"/>
                    </a:cubicBezTo>
                    <a:cubicBezTo>
                      <a:pt x="934678" y="810558"/>
                      <a:pt x="936107" y="810558"/>
                      <a:pt x="936821" y="810558"/>
                    </a:cubicBezTo>
                    <a:cubicBezTo>
                      <a:pt x="936821" y="810558"/>
                      <a:pt x="936821" y="810558"/>
                      <a:pt x="938250" y="809843"/>
                    </a:cubicBezTo>
                    <a:cubicBezTo>
                      <a:pt x="939679" y="809843"/>
                      <a:pt x="941823" y="809843"/>
                      <a:pt x="943252" y="809128"/>
                    </a:cubicBezTo>
                    <a:cubicBezTo>
                      <a:pt x="944681" y="809128"/>
                      <a:pt x="945395" y="809128"/>
                      <a:pt x="946824" y="809128"/>
                    </a:cubicBezTo>
                    <a:cubicBezTo>
                      <a:pt x="946824" y="809128"/>
                      <a:pt x="946824" y="809128"/>
                      <a:pt x="948253" y="808414"/>
                    </a:cubicBezTo>
                    <a:cubicBezTo>
                      <a:pt x="949682" y="808414"/>
                      <a:pt x="951111" y="808414"/>
                      <a:pt x="952540" y="807699"/>
                    </a:cubicBezTo>
                    <a:cubicBezTo>
                      <a:pt x="953969" y="807699"/>
                      <a:pt x="954683" y="807699"/>
                      <a:pt x="956112" y="806984"/>
                    </a:cubicBezTo>
                    <a:cubicBezTo>
                      <a:pt x="956112" y="806984"/>
                      <a:pt x="956112" y="806984"/>
                      <a:pt x="956827" y="806984"/>
                    </a:cubicBezTo>
                    <a:cubicBezTo>
                      <a:pt x="958255" y="806270"/>
                      <a:pt x="960399" y="806270"/>
                      <a:pt x="961828" y="805555"/>
                    </a:cubicBezTo>
                    <a:cubicBezTo>
                      <a:pt x="963257" y="805555"/>
                      <a:pt x="964686" y="804840"/>
                      <a:pt x="965400" y="804840"/>
                    </a:cubicBezTo>
                    <a:cubicBezTo>
                      <a:pt x="967544" y="804126"/>
                      <a:pt x="968972" y="804126"/>
                      <a:pt x="970401" y="803411"/>
                    </a:cubicBezTo>
                    <a:cubicBezTo>
                      <a:pt x="971830" y="802696"/>
                      <a:pt x="973259" y="802696"/>
                      <a:pt x="974688" y="801982"/>
                    </a:cubicBezTo>
                    <a:cubicBezTo>
                      <a:pt x="976117" y="801267"/>
                      <a:pt x="978261" y="801267"/>
                      <a:pt x="979689" y="800552"/>
                    </a:cubicBezTo>
                    <a:cubicBezTo>
                      <a:pt x="981118" y="799838"/>
                      <a:pt x="981833" y="799123"/>
                      <a:pt x="983262" y="799123"/>
                    </a:cubicBezTo>
                    <a:cubicBezTo>
                      <a:pt x="984691" y="798409"/>
                      <a:pt x="986834" y="797694"/>
                      <a:pt x="988263" y="796979"/>
                    </a:cubicBezTo>
                    <a:cubicBezTo>
                      <a:pt x="989692" y="796265"/>
                      <a:pt x="990407" y="796265"/>
                      <a:pt x="991835" y="795550"/>
                    </a:cubicBezTo>
                    <a:cubicBezTo>
                      <a:pt x="993264" y="794835"/>
                      <a:pt x="994693" y="794121"/>
                      <a:pt x="996837" y="793406"/>
                    </a:cubicBezTo>
                    <a:cubicBezTo>
                      <a:pt x="997551" y="792691"/>
                      <a:pt x="998980" y="791977"/>
                      <a:pt x="1000409" y="791977"/>
                    </a:cubicBezTo>
                    <a:cubicBezTo>
                      <a:pt x="1001838" y="791262"/>
                      <a:pt x="1003267" y="790547"/>
                      <a:pt x="1004696" y="789118"/>
                    </a:cubicBezTo>
                    <a:cubicBezTo>
                      <a:pt x="1006125" y="788403"/>
                      <a:pt x="1007554" y="788403"/>
                      <a:pt x="1008268" y="787689"/>
                    </a:cubicBezTo>
                    <a:cubicBezTo>
                      <a:pt x="1009697" y="786974"/>
                      <a:pt x="1011126" y="785545"/>
                      <a:pt x="1012555" y="784830"/>
                    </a:cubicBezTo>
                    <a:cubicBezTo>
                      <a:pt x="1012555" y="784830"/>
                      <a:pt x="1012555" y="784830"/>
                      <a:pt x="1013269" y="784830"/>
                    </a:cubicBezTo>
                    <a:cubicBezTo>
                      <a:pt x="1013984" y="784116"/>
                      <a:pt x="1015413" y="783401"/>
                      <a:pt x="1016127" y="782686"/>
                    </a:cubicBezTo>
                    <a:cubicBezTo>
                      <a:pt x="1017556" y="781972"/>
                      <a:pt x="1018985" y="781257"/>
                      <a:pt x="1020414" y="780542"/>
                    </a:cubicBezTo>
                    <a:cubicBezTo>
                      <a:pt x="1020414" y="780542"/>
                      <a:pt x="1020414" y="780542"/>
                      <a:pt x="1021129" y="779828"/>
                    </a:cubicBezTo>
                    <a:cubicBezTo>
                      <a:pt x="1021843" y="779113"/>
                      <a:pt x="1022558" y="778398"/>
                      <a:pt x="1023986" y="777684"/>
                    </a:cubicBezTo>
                    <a:cubicBezTo>
                      <a:pt x="1025415" y="776969"/>
                      <a:pt x="1026130" y="776254"/>
                      <a:pt x="1027559" y="775540"/>
                    </a:cubicBezTo>
                    <a:cubicBezTo>
                      <a:pt x="1027559" y="775540"/>
                      <a:pt x="1027559" y="775540"/>
                      <a:pt x="1028988" y="774110"/>
                    </a:cubicBezTo>
                    <a:cubicBezTo>
                      <a:pt x="1029702" y="774110"/>
                      <a:pt x="1030417" y="773396"/>
                      <a:pt x="1031131" y="772681"/>
                    </a:cubicBezTo>
                    <a:cubicBezTo>
                      <a:pt x="1032560" y="771967"/>
                      <a:pt x="1033989" y="770537"/>
                      <a:pt x="1035418" y="769108"/>
                    </a:cubicBezTo>
                    <a:cubicBezTo>
                      <a:pt x="1035418" y="769108"/>
                      <a:pt x="1035418" y="769108"/>
                      <a:pt x="1056138" y="769108"/>
                    </a:cubicBezTo>
                    <a:cubicBezTo>
                      <a:pt x="1149018" y="769108"/>
                      <a:pt x="1230468" y="706934"/>
                      <a:pt x="1254045" y="617603"/>
                    </a:cubicBezTo>
                    <a:cubicBezTo>
                      <a:pt x="1254759" y="614029"/>
                      <a:pt x="1255474" y="611171"/>
                      <a:pt x="1256188" y="607598"/>
                    </a:cubicBezTo>
                    <a:cubicBezTo>
                      <a:pt x="1258332" y="597592"/>
                      <a:pt x="1259761" y="587587"/>
                      <a:pt x="1260475" y="576868"/>
                    </a:cubicBezTo>
                    <a:cubicBezTo>
                      <a:pt x="1260475" y="573294"/>
                      <a:pt x="1260475" y="570436"/>
                      <a:pt x="1260475" y="566863"/>
                    </a:cubicBezTo>
                    <a:cubicBezTo>
                      <a:pt x="1260475" y="551855"/>
                      <a:pt x="1259046" y="536133"/>
                      <a:pt x="1255474" y="521840"/>
                    </a:cubicBezTo>
                    <a:cubicBezTo>
                      <a:pt x="1251187" y="503259"/>
                      <a:pt x="1244042" y="485393"/>
                      <a:pt x="1234754" y="468241"/>
                    </a:cubicBezTo>
                    <a:cubicBezTo>
                      <a:pt x="1229753" y="458951"/>
                      <a:pt x="1224037" y="450375"/>
                      <a:pt x="1216893" y="441799"/>
                    </a:cubicBezTo>
                    <a:cubicBezTo>
                      <a:pt x="1211177" y="434653"/>
                      <a:pt x="1204747" y="427506"/>
                      <a:pt x="1198317" y="421074"/>
                    </a:cubicBezTo>
                    <a:cubicBezTo>
                      <a:pt x="1195459" y="418216"/>
                      <a:pt x="1192601" y="416072"/>
                      <a:pt x="1190457" y="413928"/>
                    </a:cubicBezTo>
                    <a:cubicBezTo>
                      <a:pt x="1186171" y="410355"/>
                      <a:pt x="1181884" y="406782"/>
                      <a:pt x="1177597" y="403208"/>
                    </a:cubicBezTo>
                    <a:cubicBezTo>
                      <a:pt x="1171881" y="399635"/>
                      <a:pt x="1166880" y="396062"/>
                      <a:pt x="1161879" y="393203"/>
                    </a:cubicBezTo>
                    <a:cubicBezTo>
                      <a:pt x="1161164" y="392489"/>
                      <a:pt x="1159735" y="392489"/>
                      <a:pt x="1159021" y="391774"/>
                    </a:cubicBezTo>
                    <a:cubicBezTo>
                      <a:pt x="1154734" y="388915"/>
                      <a:pt x="1149733" y="386771"/>
                      <a:pt x="1145446" y="384627"/>
                    </a:cubicBezTo>
                    <a:cubicBezTo>
                      <a:pt x="1144731" y="383913"/>
                      <a:pt x="1144731" y="383913"/>
                      <a:pt x="1144017" y="383913"/>
                    </a:cubicBezTo>
                    <a:cubicBezTo>
                      <a:pt x="1133300" y="378910"/>
                      <a:pt x="1121868" y="374622"/>
                      <a:pt x="1109723" y="371049"/>
                    </a:cubicBezTo>
                    <a:cubicBezTo>
                      <a:pt x="1080429" y="322453"/>
                      <a:pt x="1031131" y="289579"/>
                      <a:pt x="974688" y="281718"/>
                    </a:cubicBezTo>
                    <a:cubicBezTo>
                      <a:pt x="967544" y="238125"/>
                      <a:pt x="947538" y="198104"/>
                      <a:pt x="916102" y="166660"/>
                    </a:cubicBezTo>
                    <a:cubicBezTo>
                      <a:pt x="876806" y="128784"/>
                      <a:pt x="826079" y="107344"/>
                      <a:pt x="771779" y="107344"/>
                    </a:cubicBezTo>
                    <a:cubicBezTo>
                      <a:pt x="742486" y="107344"/>
                      <a:pt x="713908" y="113776"/>
                      <a:pt x="687472" y="125925"/>
                    </a:cubicBezTo>
                    <a:cubicBezTo>
                      <a:pt x="636031" y="65180"/>
                      <a:pt x="560297" y="30162"/>
                      <a:pt x="479562" y="30162"/>
                    </a:cubicBezTo>
                    <a:close/>
                    <a:moveTo>
                      <a:pt x="480479" y="0"/>
                    </a:moveTo>
                    <a:cubicBezTo>
                      <a:pt x="561868" y="0"/>
                      <a:pt x="639687" y="32067"/>
                      <a:pt x="696088" y="89788"/>
                    </a:cubicBezTo>
                    <a:cubicBezTo>
                      <a:pt x="721076" y="81237"/>
                      <a:pt x="746778" y="76961"/>
                      <a:pt x="772479" y="76961"/>
                    </a:cubicBezTo>
                    <a:cubicBezTo>
                      <a:pt x="835306" y="76961"/>
                      <a:pt x="893849" y="101189"/>
                      <a:pt x="938113" y="145371"/>
                    </a:cubicBezTo>
                    <a:cubicBezTo>
                      <a:pt x="969526" y="176012"/>
                      <a:pt x="990944" y="213780"/>
                      <a:pt x="1001653" y="255111"/>
                    </a:cubicBezTo>
                    <a:cubicBezTo>
                      <a:pt x="1054484" y="268650"/>
                      <a:pt x="1100176" y="300005"/>
                      <a:pt x="1130876" y="344898"/>
                    </a:cubicBezTo>
                    <a:cubicBezTo>
                      <a:pt x="1139443" y="347749"/>
                      <a:pt x="1148724" y="351312"/>
                      <a:pt x="1157291" y="355587"/>
                    </a:cubicBezTo>
                    <a:cubicBezTo>
                      <a:pt x="1158005" y="355587"/>
                      <a:pt x="1158719" y="355587"/>
                      <a:pt x="1159433" y="356300"/>
                    </a:cubicBezTo>
                    <a:cubicBezTo>
                      <a:pt x="1164431" y="358438"/>
                      <a:pt x="1169428" y="361288"/>
                      <a:pt x="1175140" y="364851"/>
                    </a:cubicBezTo>
                    <a:cubicBezTo>
                      <a:pt x="1176567" y="365564"/>
                      <a:pt x="1177281" y="365564"/>
                      <a:pt x="1177995" y="366276"/>
                    </a:cubicBezTo>
                    <a:cubicBezTo>
                      <a:pt x="1184421" y="369839"/>
                      <a:pt x="1190132" y="374115"/>
                      <a:pt x="1196558" y="378391"/>
                    </a:cubicBezTo>
                    <a:cubicBezTo>
                      <a:pt x="1201555" y="381954"/>
                      <a:pt x="1206553" y="386229"/>
                      <a:pt x="1211550" y="390505"/>
                    </a:cubicBezTo>
                    <a:cubicBezTo>
                      <a:pt x="1214406" y="392643"/>
                      <a:pt x="1217262" y="395493"/>
                      <a:pt x="1220118" y="398343"/>
                    </a:cubicBezTo>
                    <a:cubicBezTo>
                      <a:pt x="1227971" y="406182"/>
                      <a:pt x="1235824" y="414021"/>
                      <a:pt x="1242250" y="422572"/>
                    </a:cubicBezTo>
                    <a:cubicBezTo>
                      <a:pt x="1250103" y="431836"/>
                      <a:pt x="1256528" y="442525"/>
                      <a:pt x="1262954" y="453214"/>
                    </a:cubicBezTo>
                    <a:cubicBezTo>
                      <a:pt x="1273663" y="472454"/>
                      <a:pt x="1281516" y="493119"/>
                      <a:pt x="1286514" y="514497"/>
                    </a:cubicBezTo>
                    <a:cubicBezTo>
                      <a:pt x="1290083" y="531600"/>
                      <a:pt x="1292225" y="548702"/>
                      <a:pt x="1292225" y="566517"/>
                    </a:cubicBezTo>
                    <a:cubicBezTo>
                      <a:pt x="1292225" y="570080"/>
                      <a:pt x="1292225" y="574356"/>
                      <a:pt x="1292225" y="578631"/>
                    </a:cubicBezTo>
                    <a:cubicBezTo>
                      <a:pt x="1291511" y="590033"/>
                      <a:pt x="1290083" y="602147"/>
                      <a:pt x="1287228" y="613549"/>
                    </a:cubicBezTo>
                    <a:cubicBezTo>
                      <a:pt x="1286514" y="617112"/>
                      <a:pt x="1285800" y="621387"/>
                      <a:pt x="1285086" y="624950"/>
                    </a:cubicBezTo>
                    <a:cubicBezTo>
                      <a:pt x="1257956" y="727565"/>
                      <a:pt x="1163717" y="799537"/>
                      <a:pt x="1056626" y="799537"/>
                    </a:cubicBezTo>
                    <a:cubicBezTo>
                      <a:pt x="1056626" y="799537"/>
                      <a:pt x="1056626" y="799537"/>
                      <a:pt x="1046631" y="799537"/>
                    </a:cubicBezTo>
                    <a:cubicBezTo>
                      <a:pt x="1045203" y="800962"/>
                      <a:pt x="1043775" y="801675"/>
                      <a:pt x="1042347" y="803100"/>
                    </a:cubicBezTo>
                    <a:cubicBezTo>
                      <a:pt x="1040920" y="803813"/>
                      <a:pt x="1039492" y="804525"/>
                      <a:pt x="1038778" y="805238"/>
                    </a:cubicBezTo>
                    <a:cubicBezTo>
                      <a:pt x="1038778" y="805238"/>
                      <a:pt x="1038778" y="805238"/>
                      <a:pt x="1038064" y="805951"/>
                    </a:cubicBezTo>
                    <a:cubicBezTo>
                      <a:pt x="1036636" y="806663"/>
                      <a:pt x="1034494" y="807376"/>
                      <a:pt x="1033066" y="808801"/>
                    </a:cubicBezTo>
                    <a:cubicBezTo>
                      <a:pt x="1031638" y="809514"/>
                      <a:pt x="1030924" y="810226"/>
                      <a:pt x="1029497" y="810939"/>
                    </a:cubicBezTo>
                    <a:cubicBezTo>
                      <a:pt x="1029497" y="810939"/>
                      <a:pt x="1029497" y="810939"/>
                      <a:pt x="1028783" y="810939"/>
                    </a:cubicBezTo>
                    <a:cubicBezTo>
                      <a:pt x="1027355" y="811651"/>
                      <a:pt x="1025927" y="813077"/>
                      <a:pt x="1024499" y="813789"/>
                    </a:cubicBezTo>
                    <a:cubicBezTo>
                      <a:pt x="1023071" y="814502"/>
                      <a:pt x="1021643" y="815214"/>
                      <a:pt x="1020215" y="815927"/>
                    </a:cubicBezTo>
                    <a:cubicBezTo>
                      <a:pt x="1019501" y="815927"/>
                      <a:pt x="1019501" y="815927"/>
                      <a:pt x="1019501" y="815927"/>
                    </a:cubicBezTo>
                    <a:cubicBezTo>
                      <a:pt x="1018074" y="817352"/>
                      <a:pt x="1016646" y="818065"/>
                      <a:pt x="1014504" y="818777"/>
                    </a:cubicBezTo>
                    <a:cubicBezTo>
                      <a:pt x="1013076" y="819490"/>
                      <a:pt x="1011648" y="820203"/>
                      <a:pt x="1010220" y="820915"/>
                    </a:cubicBezTo>
                    <a:cubicBezTo>
                      <a:pt x="1008792" y="821628"/>
                      <a:pt x="1006651" y="822340"/>
                      <a:pt x="1005223" y="823053"/>
                    </a:cubicBezTo>
                    <a:cubicBezTo>
                      <a:pt x="1003795" y="823766"/>
                      <a:pt x="1002367" y="824478"/>
                      <a:pt x="1000225" y="825191"/>
                    </a:cubicBezTo>
                    <a:cubicBezTo>
                      <a:pt x="998797" y="825903"/>
                      <a:pt x="996656" y="826616"/>
                      <a:pt x="995228" y="827329"/>
                    </a:cubicBezTo>
                    <a:cubicBezTo>
                      <a:pt x="993800" y="828041"/>
                      <a:pt x="992372" y="828754"/>
                      <a:pt x="990230" y="828754"/>
                    </a:cubicBezTo>
                    <a:cubicBezTo>
                      <a:pt x="988802" y="829466"/>
                      <a:pt x="986660" y="830179"/>
                      <a:pt x="985233" y="830892"/>
                    </a:cubicBezTo>
                    <a:cubicBezTo>
                      <a:pt x="983091" y="831604"/>
                      <a:pt x="981663" y="831604"/>
                      <a:pt x="980235" y="832317"/>
                    </a:cubicBezTo>
                    <a:cubicBezTo>
                      <a:pt x="978807" y="833029"/>
                      <a:pt x="976665" y="833742"/>
                      <a:pt x="974523" y="833742"/>
                    </a:cubicBezTo>
                    <a:cubicBezTo>
                      <a:pt x="973096" y="834455"/>
                      <a:pt x="971668" y="834455"/>
                      <a:pt x="970240" y="835167"/>
                    </a:cubicBezTo>
                    <a:cubicBezTo>
                      <a:pt x="968098" y="835880"/>
                      <a:pt x="965956" y="835880"/>
                      <a:pt x="963814" y="836592"/>
                    </a:cubicBezTo>
                    <a:cubicBezTo>
                      <a:pt x="963814" y="836592"/>
                      <a:pt x="963814" y="836592"/>
                      <a:pt x="963101" y="836592"/>
                    </a:cubicBezTo>
                    <a:cubicBezTo>
                      <a:pt x="961673" y="837305"/>
                      <a:pt x="960245" y="837305"/>
                      <a:pt x="959531" y="837305"/>
                    </a:cubicBezTo>
                    <a:cubicBezTo>
                      <a:pt x="957389" y="838018"/>
                      <a:pt x="955247" y="838018"/>
                      <a:pt x="953819" y="838730"/>
                    </a:cubicBezTo>
                    <a:cubicBezTo>
                      <a:pt x="953819" y="838730"/>
                      <a:pt x="953819" y="838730"/>
                      <a:pt x="952391" y="838730"/>
                    </a:cubicBezTo>
                    <a:cubicBezTo>
                      <a:pt x="950964" y="838730"/>
                      <a:pt x="949536" y="839443"/>
                      <a:pt x="948108" y="839443"/>
                    </a:cubicBezTo>
                    <a:cubicBezTo>
                      <a:pt x="946680" y="839443"/>
                      <a:pt x="944538" y="840155"/>
                      <a:pt x="942396" y="840155"/>
                    </a:cubicBezTo>
                    <a:cubicBezTo>
                      <a:pt x="942396" y="840155"/>
                      <a:pt x="942396" y="840155"/>
                      <a:pt x="941682" y="840155"/>
                    </a:cubicBezTo>
                    <a:cubicBezTo>
                      <a:pt x="940255" y="840155"/>
                      <a:pt x="938827" y="840868"/>
                      <a:pt x="937399" y="840868"/>
                    </a:cubicBezTo>
                    <a:cubicBezTo>
                      <a:pt x="935257" y="840868"/>
                      <a:pt x="933115" y="840868"/>
                      <a:pt x="930973" y="841581"/>
                    </a:cubicBezTo>
                    <a:cubicBezTo>
                      <a:pt x="930973" y="841581"/>
                      <a:pt x="930973" y="841581"/>
                      <a:pt x="930259" y="841581"/>
                    </a:cubicBezTo>
                    <a:cubicBezTo>
                      <a:pt x="928832" y="841581"/>
                      <a:pt x="927404" y="841581"/>
                      <a:pt x="926690" y="841581"/>
                    </a:cubicBezTo>
                    <a:cubicBezTo>
                      <a:pt x="923120" y="841581"/>
                      <a:pt x="919550" y="841581"/>
                      <a:pt x="915981" y="841581"/>
                    </a:cubicBezTo>
                    <a:cubicBezTo>
                      <a:pt x="915267" y="841581"/>
                      <a:pt x="914553" y="841581"/>
                      <a:pt x="914553" y="841581"/>
                    </a:cubicBezTo>
                    <a:cubicBezTo>
                      <a:pt x="911697" y="841581"/>
                      <a:pt x="908127" y="841581"/>
                      <a:pt x="905272" y="841581"/>
                    </a:cubicBezTo>
                    <a:cubicBezTo>
                      <a:pt x="903844" y="841581"/>
                      <a:pt x="901702" y="841581"/>
                      <a:pt x="901702" y="841581"/>
                    </a:cubicBezTo>
                    <a:cubicBezTo>
                      <a:pt x="899560" y="841581"/>
                      <a:pt x="896704" y="840868"/>
                      <a:pt x="894563" y="840868"/>
                    </a:cubicBezTo>
                    <a:cubicBezTo>
                      <a:pt x="894563" y="840868"/>
                      <a:pt x="891707" y="840868"/>
                      <a:pt x="890993" y="840868"/>
                    </a:cubicBezTo>
                    <a:cubicBezTo>
                      <a:pt x="887423" y="840155"/>
                      <a:pt x="884567" y="840155"/>
                      <a:pt x="880998" y="839443"/>
                    </a:cubicBezTo>
                    <a:cubicBezTo>
                      <a:pt x="880284" y="839443"/>
                      <a:pt x="880284" y="839443"/>
                      <a:pt x="879570" y="838730"/>
                    </a:cubicBezTo>
                    <a:cubicBezTo>
                      <a:pt x="876714" y="838730"/>
                      <a:pt x="873858" y="838018"/>
                      <a:pt x="871717" y="837305"/>
                    </a:cubicBezTo>
                    <a:cubicBezTo>
                      <a:pt x="870289" y="837305"/>
                      <a:pt x="869575" y="837305"/>
                      <a:pt x="868861" y="837305"/>
                    </a:cubicBezTo>
                    <a:cubicBezTo>
                      <a:pt x="868861" y="837305"/>
                      <a:pt x="868861" y="837305"/>
                      <a:pt x="868147" y="836592"/>
                    </a:cubicBezTo>
                    <a:cubicBezTo>
                      <a:pt x="866005" y="836592"/>
                      <a:pt x="864577" y="835880"/>
                      <a:pt x="862435" y="835167"/>
                    </a:cubicBezTo>
                    <a:cubicBezTo>
                      <a:pt x="862435" y="835167"/>
                      <a:pt x="862435" y="835167"/>
                      <a:pt x="861722" y="835167"/>
                    </a:cubicBezTo>
                    <a:cubicBezTo>
                      <a:pt x="861008" y="835167"/>
                      <a:pt x="859580" y="834455"/>
                      <a:pt x="858866" y="834455"/>
                    </a:cubicBezTo>
                    <a:cubicBezTo>
                      <a:pt x="855296" y="833742"/>
                      <a:pt x="852440" y="833029"/>
                      <a:pt x="849585" y="832317"/>
                    </a:cubicBezTo>
                    <a:cubicBezTo>
                      <a:pt x="848871" y="831604"/>
                      <a:pt x="847443" y="831604"/>
                      <a:pt x="846729" y="830892"/>
                    </a:cubicBezTo>
                    <a:cubicBezTo>
                      <a:pt x="846729" y="830892"/>
                      <a:pt x="846729" y="830892"/>
                      <a:pt x="846015" y="830892"/>
                    </a:cubicBezTo>
                    <a:cubicBezTo>
                      <a:pt x="843873" y="830179"/>
                      <a:pt x="842445" y="829466"/>
                      <a:pt x="840303" y="828754"/>
                    </a:cubicBezTo>
                    <a:cubicBezTo>
                      <a:pt x="838876" y="828754"/>
                      <a:pt x="837448" y="828041"/>
                      <a:pt x="836020" y="827329"/>
                    </a:cubicBezTo>
                    <a:cubicBezTo>
                      <a:pt x="834592" y="826616"/>
                      <a:pt x="833878" y="826616"/>
                      <a:pt x="832450" y="825903"/>
                    </a:cubicBezTo>
                    <a:cubicBezTo>
                      <a:pt x="830308" y="827329"/>
                      <a:pt x="828167" y="828754"/>
                      <a:pt x="825311" y="830179"/>
                    </a:cubicBezTo>
                    <a:cubicBezTo>
                      <a:pt x="825311" y="830179"/>
                      <a:pt x="825311" y="830179"/>
                      <a:pt x="823169" y="831604"/>
                    </a:cubicBezTo>
                    <a:cubicBezTo>
                      <a:pt x="820313" y="833029"/>
                      <a:pt x="818171" y="834455"/>
                      <a:pt x="815316" y="835880"/>
                    </a:cubicBezTo>
                    <a:cubicBezTo>
                      <a:pt x="814602" y="835880"/>
                      <a:pt x="813174" y="837305"/>
                      <a:pt x="813174" y="837305"/>
                    </a:cubicBezTo>
                    <a:cubicBezTo>
                      <a:pt x="810318" y="838730"/>
                      <a:pt x="807462" y="839443"/>
                      <a:pt x="805321" y="840868"/>
                    </a:cubicBezTo>
                    <a:cubicBezTo>
                      <a:pt x="804607" y="840868"/>
                      <a:pt x="803179" y="841581"/>
                      <a:pt x="802465" y="842293"/>
                    </a:cubicBezTo>
                    <a:cubicBezTo>
                      <a:pt x="799609" y="843718"/>
                      <a:pt x="797467" y="844431"/>
                      <a:pt x="795325" y="845144"/>
                    </a:cubicBezTo>
                    <a:cubicBezTo>
                      <a:pt x="793898" y="845856"/>
                      <a:pt x="793184" y="845856"/>
                      <a:pt x="791756" y="846569"/>
                    </a:cubicBezTo>
                    <a:cubicBezTo>
                      <a:pt x="791756" y="846569"/>
                      <a:pt x="791756" y="846569"/>
                      <a:pt x="791042" y="846569"/>
                    </a:cubicBezTo>
                    <a:cubicBezTo>
                      <a:pt x="789614" y="847281"/>
                      <a:pt x="786758" y="848707"/>
                      <a:pt x="784616" y="849419"/>
                    </a:cubicBezTo>
                    <a:cubicBezTo>
                      <a:pt x="783189" y="850132"/>
                      <a:pt x="781761" y="850132"/>
                      <a:pt x="780333" y="850844"/>
                    </a:cubicBezTo>
                    <a:cubicBezTo>
                      <a:pt x="778191" y="851557"/>
                      <a:pt x="776049" y="852270"/>
                      <a:pt x="773193" y="852982"/>
                    </a:cubicBezTo>
                    <a:cubicBezTo>
                      <a:pt x="772479" y="852982"/>
                      <a:pt x="771052" y="853695"/>
                      <a:pt x="769624" y="854407"/>
                    </a:cubicBezTo>
                    <a:cubicBezTo>
                      <a:pt x="769624" y="854407"/>
                      <a:pt x="769624" y="854407"/>
                      <a:pt x="768196" y="854407"/>
                    </a:cubicBezTo>
                    <a:cubicBezTo>
                      <a:pt x="766054" y="855120"/>
                      <a:pt x="763912" y="855833"/>
                      <a:pt x="762484" y="855833"/>
                    </a:cubicBezTo>
                    <a:cubicBezTo>
                      <a:pt x="761056" y="856545"/>
                      <a:pt x="759629" y="856545"/>
                      <a:pt x="758201" y="857258"/>
                    </a:cubicBezTo>
                    <a:cubicBezTo>
                      <a:pt x="758201" y="857258"/>
                      <a:pt x="758201" y="857258"/>
                      <a:pt x="756059" y="857258"/>
                    </a:cubicBezTo>
                    <a:cubicBezTo>
                      <a:pt x="754631" y="857970"/>
                      <a:pt x="752489" y="857970"/>
                      <a:pt x="751061" y="858683"/>
                    </a:cubicBezTo>
                    <a:cubicBezTo>
                      <a:pt x="748920" y="858683"/>
                      <a:pt x="747492" y="859396"/>
                      <a:pt x="746064" y="859396"/>
                    </a:cubicBezTo>
                    <a:cubicBezTo>
                      <a:pt x="746064" y="859396"/>
                      <a:pt x="746064" y="859396"/>
                      <a:pt x="743922" y="860108"/>
                    </a:cubicBezTo>
                    <a:cubicBezTo>
                      <a:pt x="742494" y="860108"/>
                      <a:pt x="741066" y="860108"/>
                      <a:pt x="738924" y="860821"/>
                    </a:cubicBezTo>
                    <a:cubicBezTo>
                      <a:pt x="737497" y="860821"/>
                      <a:pt x="735355" y="860821"/>
                      <a:pt x="733927" y="861533"/>
                    </a:cubicBezTo>
                    <a:cubicBezTo>
                      <a:pt x="733927" y="861533"/>
                      <a:pt x="733927" y="861533"/>
                      <a:pt x="731785" y="861533"/>
                    </a:cubicBezTo>
                    <a:cubicBezTo>
                      <a:pt x="730357" y="861533"/>
                      <a:pt x="728929" y="862246"/>
                      <a:pt x="727501" y="862246"/>
                    </a:cubicBezTo>
                    <a:cubicBezTo>
                      <a:pt x="724646" y="862246"/>
                      <a:pt x="722504" y="862246"/>
                      <a:pt x="720362" y="862959"/>
                    </a:cubicBezTo>
                    <a:cubicBezTo>
                      <a:pt x="720362" y="862959"/>
                      <a:pt x="720362" y="862959"/>
                      <a:pt x="718934" y="862959"/>
                    </a:cubicBezTo>
                    <a:cubicBezTo>
                      <a:pt x="717506" y="862959"/>
                      <a:pt x="716078" y="862959"/>
                      <a:pt x="715365" y="862959"/>
                    </a:cubicBezTo>
                    <a:cubicBezTo>
                      <a:pt x="711081" y="862959"/>
                      <a:pt x="706797" y="863671"/>
                      <a:pt x="703228" y="863671"/>
                    </a:cubicBezTo>
                    <a:cubicBezTo>
                      <a:pt x="698944" y="863671"/>
                      <a:pt x="694660" y="862959"/>
                      <a:pt x="690377" y="862959"/>
                    </a:cubicBezTo>
                    <a:cubicBezTo>
                      <a:pt x="688949" y="862959"/>
                      <a:pt x="688235" y="862959"/>
                      <a:pt x="686807" y="862959"/>
                    </a:cubicBezTo>
                    <a:cubicBezTo>
                      <a:pt x="686807" y="862959"/>
                      <a:pt x="686807" y="862959"/>
                      <a:pt x="684665" y="862246"/>
                    </a:cubicBezTo>
                    <a:cubicBezTo>
                      <a:pt x="682523" y="862246"/>
                      <a:pt x="680382" y="862246"/>
                      <a:pt x="678240" y="862246"/>
                    </a:cubicBezTo>
                    <a:cubicBezTo>
                      <a:pt x="676812" y="862246"/>
                      <a:pt x="674670" y="861533"/>
                      <a:pt x="673242" y="861533"/>
                    </a:cubicBezTo>
                    <a:cubicBezTo>
                      <a:pt x="673242" y="861533"/>
                      <a:pt x="673242" y="861533"/>
                      <a:pt x="671100" y="861533"/>
                    </a:cubicBezTo>
                    <a:cubicBezTo>
                      <a:pt x="669673" y="860821"/>
                      <a:pt x="668245" y="860821"/>
                      <a:pt x="666103" y="860821"/>
                    </a:cubicBezTo>
                    <a:cubicBezTo>
                      <a:pt x="663961" y="860108"/>
                      <a:pt x="661819" y="860108"/>
                      <a:pt x="660391" y="859396"/>
                    </a:cubicBezTo>
                    <a:cubicBezTo>
                      <a:pt x="660391" y="859396"/>
                      <a:pt x="660391" y="859396"/>
                      <a:pt x="658250" y="859396"/>
                    </a:cubicBezTo>
                    <a:cubicBezTo>
                      <a:pt x="656822" y="858683"/>
                      <a:pt x="656108" y="858683"/>
                      <a:pt x="654680" y="858683"/>
                    </a:cubicBezTo>
                    <a:cubicBezTo>
                      <a:pt x="651824" y="857970"/>
                      <a:pt x="649682" y="857258"/>
                      <a:pt x="647541" y="856545"/>
                    </a:cubicBezTo>
                    <a:cubicBezTo>
                      <a:pt x="647541" y="856545"/>
                      <a:pt x="647541" y="856545"/>
                      <a:pt x="646113" y="856545"/>
                    </a:cubicBezTo>
                    <a:cubicBezTo>
                      <a:pt x="644685" y="856545"/>
                      <a:pt x="643971" y="855833"/>
                      <a:pt x="642543" y="855833"/>
                    </a:cubicBezTo>
                    <a:cubicBezTo>
                      <a:pt x="640401" y="855120"/>
                      <a:pt x="637545" y="854407"/>
                      <a:pt x="634690" y="853695"/>
                    </a:cubicBezTo>
                    <a:cubicBezTo>
                      <a:pt x="633262" y="852982"/>
                      <a:pt x="632548" y="852982"/>
                      <a:pt x="631834" y="852982"/>
                    </a:cubicBezTo>
                    <a:cubicBezTo>
                      <a:pt x="628264" y="851557"/>
                      <a:pt x="625409" y="850844"/>
                      <a:pt x="623267" y="850132"/>
                    </a:cubicBezTo>
                    <a:cubicBezTo>
                      <a:pt x="621839" y="849419"/>
                      <a:pt x="621125" y="849419"/>
                      <a:pt x="620411" y="848707"/>
                    </a:cubicBezTo>
                    <a:cubicBezTo>
                      <a:pt x="617555" y="847994"/>
                      <a:pt x="614700" y="846569"/>
                      <a:pt x="611130" y="845856"/>
                    </a:cubicBezTo>
                    <a:cubicBezTo>
                      <a:pt x="610416" y="845144"/>
                      <a:pt x="610416" y="845144"/>
                      <a:pt x="609702" y="844431"/>
                    </a:cubicBezTo>
                    <a:cubicBezTo>
                      <a:pt x="606846" y="843718"/>
                      <a:pt x="603990" y="842293"/>
                      <a:pt x="600421" y="840868"/>
                    </a:cubicBezTo>
                    <a:cubicBezTo>
                      <a:pt x="599707" y="840155"/>
                      <a:pt x="599707" y="840155"/>
                      <a:pt x="598993" y="840155"/>
                    </a:cubicBezTo>
                    <a:cubicBezTo>
                      <a:pt x="596137" y="838730"/>
                      <a:pt x="592567" y="837305"/>
                      <a:pt x="589712" y="835167"/>
                    </a:cubicBezTo>
                    <a:cubicBezTo>
                      <a:pt x="589712" y="835167"/>
                      <a:pt x="589712" y="835167"/>
                      <a:pt x="588998" y="835167"/>
                    </a:cubicBezTo>
                    <a:cubicBezTo>
                      <a:pt x="588998" y="835167"/>
                      <a:pt x="588998" y="835167"/>
                      <a:pt x="588284" y="834455"/>
                    </a:cubicBezTo>
                    <a:cubicBezTo>
                      <a:pt x="586142" y="833742"/>
                      <a:pt x="584000" y="832317"/>
                      <a:pt x="581858" y="830892"/>
                    </a:cubicBezTo>
                    <a:cubicBezTo>
                      <a:pt x="579003" y="833029"/>
                      <a:pt x="576861" y="835167"/>
                      <a:pt x="574005" y="836592"/>
                    </a:cubicBezTo>
                    <a:cubicBezTo>
                      <a:pt x="573291" y="837305"/>
                      <a:pt x="571149" y="838730"/>
                      <a:pt x="571149" y="838730"/>
                    </a:cubicBezTo>
                    <a:cubicBezTo>
                      <a:pt x="568294" y="840868"/>
                      <a:pt x="565438" y="843006"/>
                      <a:pt x="561868" y="845144"/>
                    </a:cubicBezTo>
                    <a:cubicBezTo>
                      <a:pt x="561154" y="845856"/>
                      <a:pt x="559726" y="846569"/>
                      <a:pt x="558299" y="847281"/>
                    </a:cubicBezTo>
                    <a:cubicBezTo>
                      <a:pt x="555443" y="849419"/>
                      <a:pt x="552587" y="850844"/>
                      <a:pt x="549731" y="852270"/>
                    </a:cubicBezTo>
                    <a:cubicBezTo>
                      <a:pt x="548303" y="852982"/>
                      <a:pt x="546876" y="854407"/>
                      <a:pt x="545448" y="855120"/>
                    </a:cubicBezTo>
                    <a:cubicBezTo>
                      <a:pt x="542592" y="856545"/>
                      <a:pt x="540450" y="857258"/>
                      <a:pt x="539022" y="858683"/>
                    </a:cubicBezTo>
                    <a:cubicBezTo>
                      <a:pt x="536167" y="860108"/>
                      <a:pt x="534025" y="860821"/>
                      <a:pt x="531883" y="862246"/>
                    </a:cubicBezTo>
                    <a:cubicBezTo>
                      <a:pt x="530455" y="862959"/>
                      <a:pt x="528313" y="863671"/>
                      <a:pt x="526885" y="864384"/>
                    </a:cubicBezTo>
                    <a:cubicBezTo>
                      <a:pt x="524030" y="865809"/>
                      <a:pt x="521174" y="867234"/>
                      <a:pt x="518318" y="868659"/>
                    </a:cubicBezTo>
                    <a:cubicBezTo>
                      <a:pt x="516890" y="869372"/>
                      <a:pt x="515462" y="869372"/>
                      <a:pt x="514034" y="870085"/>
                    </a:cubicBezTo>
                    <a:cubicBezTo>
                      <a:pt x="510465" y="871510"/>
                      <a:pt x="506895" y="872935"/>
                      <a:pt x="504039" y="874360"/>
                    </a:cubicBezTo>
                    <a:cubicBezTo>
                      <a:pt x="503325" y="874360"/>
                      <a:pt x="501898" y="875073"/>
                      <a:pt x="501184" y="875073"/>
                    </a:cubicBezTo>
                    <a:cubicBezTo>
                      <a:pt x="501184" y="875073"/>
                      <a:pt x="501184" y="875073"/>
                      <a:pt x="500470" y="875785"/>
                    </a:cubicBezTo>
                    <a:cubicBezTo>
                      <a:pt x="496900" y="876498"/>
                      <a:pt x="493330" y="877923"/>
                      <a:pt x="490475" y="878636"/>
                    </a:cubicBezTo>
                    <a:cubicBezTo>
                      <a:pt x="489047" y="879348"/>
                      <a:pt x="486905" y="880061"/>
                      <a:pt x="486905" y="880061"/>
                    </a:cubicBezTo>
                    <a:cubicBezTo>
                      <a:pt x="484049" y="880774"/>
                      <a:pt x="480479" y="882199"/>
                      <a:pt x="476910" y="882911"/>
                    </a:cubicBezTo>
                    <a:cubicBezTo>
                      <a:pt x="476196" y="882911"/>
                      <a:pt x="474768" y="883624"/>
                      <a:pt x="474768" y="883624"/>
                    </a:cubicBezTo>
                    <a:cubicBezTo>
                      <a:pt x="470484" y="884337"/>
                      <a:pt x="466915" y="885049"/>
                      <a:pt x="462631" y="886474"/>
                    </a:cubicBezTo>
                    <a:cubicBezTo>
                      <a:pt x="462631" y="886474"/>
                      <a:pt x="460489" y="886474"/>
                      <a:pt x="459775" y="886474"/>
                    </a:cubicBezTo>
                    <a:cubicBezTo>
                      <a:pt x="456206" y="887187"/>
                      <a:pt x="451922" y="887900"/>
                      <a:pt x="447638" y="888612"/>
                    </a:cubicBezTo>
                    <a:cubicBezTo>
                      <a:pt x="447638" y="888612"/>
                      <a:pt x="447638" y="888612"/>
                      <a:pt x="445497" y="889325"/>
                    </a:cubicBezTo>
                    <a:cubicBezTo>
                      <a:pt x="441213" y="890037"/>
                      <a:pt x="436929" y="890750"/>
                      <a:pt x="432646" y="890750"/>
                    </a:cubicBezTo>
                    <a:cubicBezTo>
                      <a:pt x="432646" y="890750"/>
                      <a:pt x="432646" y="890750"/>
                      <a:pt x="430504" y="890750"/>
                    </a:cubicBezTo>
                    <a:cubicBezTo>
                      <a:pt x="426220" y="891463"/>
                      <a:pt x="421937" y="892175"/>
                      <a:pt x="417653" y="892175"/>
                    </a:cubicBezTo>
                    <a:cubicBezTo>
                      <a:pt x="417653" y="892175"/>
                      <a:pt x="417653" y="892175"/>
                      <a:pt x="416939" y="892175"/>
                    </a:cubicBezTo>
                    <a:cubicBezTo>
                      <a:pt x="411228" y="892175"/>
                      <a:pt x="406944" y="892175"/>
                      <a:pt x="402660" y="892175"/>
                    </a:cubicBezTo>
                    <a:cubicBezTo>
                      <a:pt x="398377" y="892175"/>
                      <a:pt x="394093" y="892175"/>
                      <a:pt x="389096" y="892175"/>
                    </a:cubicBezTo>
                    <a:cubicBezTo>
                      <a:pt x="389096" y="892175"/>
                      <a:pt x="389096" y="892175"/>
                      <a:pt x="388382" y="892175"/>
                    </a:cubicBezTo>
                    <a:cubicBezTo>
                      <a:pt x="387668" y="892175"/>
                      <a:pt x="386954" y="892175"/>
                      <a:pt x="386240" y="892175"/>
                    </a:cubicBezTo>
                    <a:cubicBezTo>
                      <a:pt x="381956" y="891463"/>
                      <a:pt x="376959" y="891463"/>
                      <a:pt x="373389" y="890750"/>
                    </a:cubicBezTo>
                    <a:cubicBezTo>
                      <a:pt x="372675" y="890750"/>
                      <a:pt x="372675" y="890750"/>
                      <a:pt x="372675" y="890750"/>
                    </a:cubicBezTo>
                    <a:cubicBezTo>
                      <a:pt x="372675" y="890750"/>
                      <a:pt x="372675" y="890750"/>
                      <a:pt x="371247" y="890750"/>
                    </a:cubicBezTo>
                    <a:cubicBezTo>
                      <a:pt x="366964" y="890037"/>
                      <a:pt x="363394" y="890037"/>
                      <a:pt x="359110" y="889325"/>
                    </a:cubicBezTo>
                    <a:cubicBezTo>
                      <a:pt x="359110" y="889325"/>
                      <a:pt x="359110" y="889325"/>
                      <a:pt x="357682" y="889325"/>
                    </a:cubicBezTo>
                    <a:cubicBezTo>
                      <a:pt x="357682" y="889325"/>
                      <a:pt x="357682" y="889325"/>
                      <a:pt x="356968" y="889325"/>
                    </a:cubicBezTo>
                    <a:cubicBezTo>
                      <a:pt x="352685" y="888612"/>
                      <a:pt x="348401" y="887900"/>
                      <a:pt x="344118" y="886474"/>
                    </a:cubicBezTo>
                    <a:cubicBezTo>
                      <a:pt x="344118" y="886474"/>
                      <a:pt x="344118" y="886474"/>
                      <a:pt x="341976" y="886474"/>
                    </a:cubicBezTo>
                    <a:cubicBezTo>
                      <a:pt x="337692" y="885049"/>
                      <a:pt x="333409" y="884337"/>
                      <a:pt x="329839" y="883624"/>
                    </a:cubicBezTo>
                    <a:cubicBezTo>
                      <a:pt x="329839" y="883624"/>
                      <a:pt x="329125" y="883624"/>
                      <a:pt x="328411" y="882911"/>
                    </a:cubicBezTo>
                    <a:cubicBezTo>
                      <a:pt x="324841" y="882199"/>
                      <a:pt x="321272" y="880774"/>
                      <a:pt x="316274" y="880061"/>
                    </a:cubicBezTo>
                    <a:cubicBezTo>
                      <a:pt x="316274" y="880061"/>
                      <a:pt x="316274" y="880061"/>
                      <a:pt x="314132" y="878636"/>
                    </a:cubicBezTo>
                    <a:cubicBezTo>
                      <a:pt x="309849" y="877923"/>
                      <a:pt x="305565" y="876498"/>
                      <a:pt x="301995" y="875073"/>
                    </a:cubicBezTo>
                    <a:cubicBezTo>
                      <a:pt x="301995" y="875073"/>
                      <a:pt x="301995" y="875073"/>
                      <a:pt x="299854" y="874360"/>
                    </a:cubicBezTo>
                    <a:cubicBezTo>
                      <a:pt x="296284" y="872935"/>
                      <a:pt x="293428" y="871510"/>
                      <a:pt x="289858" y="870085"/>
                    </a:cubicBezTo>
                    <a:cubicBezTo>
                      <a:pt x="289858" y="870085"/>
                      <a:pt x="289858" y="870085"/>
                      <a:pt x="287717" y="869372"/>
                    </a:cubicBezTo>
                    <a:cubicBezTo>
                      <a:pt x="287717" y="869372"/>
                      <a:pt x="287717" y="869372"/>
                      <a:pt x="287003" y="869372"/>
                    </a:cubicBezTo>
                    <a:cubicBezTo>
                      <a:pt x="283433" y="867234"/>
                      <a:pt x="279863" y="865809"/>
                      <a:pt x="276294" y="864384"/>
                    </a:cubicBezTo>
                    <a:cubicBezTo>
                      <a:pt x="275580" y="863671"/>
                      <a:pt x="273438" y="862959"/>
                      <a:pt x="273438" y="862959"/>
                    </a:cubicBezTo>
                    <a:cubicBezTo>
                      <a:pt x="269868" y="860821"/>
                      <a:pt x="266299" y="859396"/>
                      <a:pt x="263443" y="857970"/>
                    </a:cubicBezTo>
                    <a:cubicBezTo>
                      <a:pt x="262729" y="857258"/>
                      <a:pt x="262729" y="857258"/>
                      <a:pt x="262015" y="856545"/>
                    </a:cubicBezTo>
                    <a:cubicBezTo>
                      <a:pt x="259159" y="855120"/>
                      <a:pt x="255589" y="852982"/>
                      <a:pt x="251306" y="850844"/>
                    </a:cubicBezTo>
                    <a:cubicBezTo>
                      <a:pt x="250592" y="850132"/>
                      <a:pt x="249878" y="849419"/>
                      <a:pt x="248450" y="849419"/>
                    </a:cubicBezTo>
                    <a:cubicBezTo>
                      <a:pt x="244880" y="846569"/>
                      <a:pt x="242025" y="845144"/>
                      <a:pt x="238455" y="843006"/>
                    </a:cubicBezTo>
                    <a:cubicBezTo>
                      <a:pt x="238455" y="842293"/>
                      <a:pt x="237027" y="841581"/>
                      <a:pt x="236313" y="840868"/>
                    </a:cubicBezTo>
                    <a:cubicBezTo>
                      <a:pt x="233457" y="839443"/>
                      <a:pt x="231316" y="837305"/>
                      <a:pt x="228460" y="835167"/>
                    </a:cubicBezTo>
                    <a:cubicBezTo>
                      <a:pt x="228460" y="835167"/>
                      <a:pt x="228460" y="835167"/>
                      <a:pt x="227746" y="835167"/>
                    </a:cubicBezTo>
                    <a:cubicBezTo>
                      <a:pt x="227032" y="834455"/>
                      <a:pt x="226318" y="833742"/>
                      <a:pt x="225604" y="833742"/>
                    </a:cubicBezTo>
                    <a:cubicBezTo>
                      <a:pt x="222748" y="830892"/>
                      <a:pt x="219893" y="828754"/>
                      <a:pt x="217037" y="826616"/>
                    </a:cubicBezTo>
                    <a:cubicBezTo>
                      <a:pt x="216323" y="825903"/>
                      <a:pt x="214181" y="823766"/>
                      <a:pt x="214181" y="823766"/>
                    </a:cubicBezTo>
                    <a:cubicBezTo>
                      <a:pt x="211325" y="821628"/>
                      <a:pt x="208470" y="819490"/>
                      <a:pt x="206328" y="817352"/>
                    </a:cubicBezTo>
                    <a:cubicBezTo>
                      <a:pt x="206328" y="817352"/>
                      <a:pt x="204900" y="815927"/>
                      <a:pt x="204186" y="815927"/>
                    </a:cubicBezTo>
                    <a:cubicBezTo>
                      <a:pt x="202044" y="813789"/>
                      <a:pt x="199189" y="810939"/>
                      <a:pt x="196333" y="808088"/>
                    </a:cubicBezTo>
                    <a:cubicBezTo>
                      <a:pt x="195619" y="807376"/>
                      <a:pt x="194191" y="805951"/>
                      <a:pt x="193477" y="805238"/>
                    </a:cubicBezTo>
                    <a:cubicBezTo>
                      <a:pt x="190621" y="802388"/>
                      <a:pt x="187766" y="799537"/>
                      <a:pt x="185624" y="797399"/>
                    </a:cubicBezTo>
                    <a:cubicBezTo>
                      <a:pt x="184910" y="796687"/>
                      <a:pt x="183482" y="795262"/>
                      <a:pt x="183482" y="794549"/>
                    </a:cubicBezTo>
                    <a:cubicBezTo>
                      <a:pt x="181340" y="792411"/>
                      <a:pt x="179198" y="790273"/>
                      <a:pt x="177056" y="787423"/>
                    </a:cubicBezTo>
                    <a:cubicBezTo>
                      <a:pt x="176343" y="785998"/>
                      <a:pt x="175629" y="785285"/>
                      <a:pt x="174915" y="784573"/>
                    </a:cubicBezTo>
                    <a:cubicBezTo>
                      <a:pt x="173487" y="783147"/>
                      <a:pt x="172773" y="781722"/>
                      <a:pt x="171345" y="780297"/>
                    </a:cubicBezTo>
                    <a:cubicBezTo>
                      <a:pt x="170631" y="779584"/>
                      <a:pt x="169917" y="779584"/>
                      <a:pt x="169203" y="779584"/>
                    </a:cubicBezTo>
                    <a:cubicBezTo>
                      <a:pt x="167775" y="778872"/>
                      <a:pt x="166347" y="778159"/>
                      <a:pt x="164920" y="777447"/>
                    </a:cubicBezTo>
                    <a:cubicBezTo>
                      <a:pt x="162064" y="776734"/>
                      <a:pt x="159922" y="775309"/>
                      <a:pt x="157780" y="774596"/>
                    </a:cubicBezTo>
                    <a:cubicBezTo>
                      <a:pt x="157780" y="774596"/>
                      <a:pt x="157780" y="774596"/>
                      <a:pt x="157066" y="773884"/>
                    </a:cubicBezTo>
                    <a:cubicBezTo>
                      <a:pt x="155638" y="773884"/>
                      <a:pt x="154924" y="773171"/>
                      <a:pt x="153497" y="772458"/>
                    </a:cubicBezTo>
                    <a:cubicBezTo>
                      <a:pt x="151355" y="771033"/>
                      <a:pt x="148499" y="769608"/>
                      <a:pt x="145643" y="768183"/>
                    </a:cubicBezTo>
                    <a:cubicBezTo>
                      <a:pt x="144215" y="767470"/>
                      <a:pt x="143501" y="767470"/>
                      <a:pt x="142788" y="766758"/>
                    </a:cubicBezTo>
                    <a:cubicBezTo>
                      <a:pt x="139218" y="765332"/>
                      <a:pt x="135648" y="763195"/>
                      <a:pt x="132078" y="761057"/>
                    </a:cubicBezTo>
                    <a:cubicBezTo>
                      <a:pt x="131365" y="760344"/>
                      <a:pt x="130651" y="760344"/>
                      <a:pt x="129937" y="759632"/>
                    </a:cubicBezTo>
                    <a:cubicBezTo>
                      <a:pt x="129937" y="759632"/>
                      <a:pt x="129937" y="759632"/>
                      <a:pt x="129223" y="758919"/>
                    </a:cubicBezTo>
                    <a:cubicBezTo>
                      <a:pt x="126367" y="757494"/>
                      <a:pt x="124225" y="756069"/>
                      <a:pt x="122083" y="754643"/>
                    </a:cubicBezTo>
                    <a:cubicBezTo>
                      <a:pt x="121369" y="753931"/>
                      <a:pt x="119942" y="753218"/>
                      <a:pt x="119228" y="752506"/>
                    </a:cubicBezTo>
                    <a:cubicBezTo>
                      <a:pt x="119228" y="752506"/>
                      <a:pt x="119228" y="752506"/>
                      <a:pt x="118514" y="751793"/>
                    </a:cubicBezTo>
                    <a:cubicBezTo>
                      <a:pt x="116372" y="750368"/>
                      <a:pt x="114230" y="748943"/>
                      <a:pt x="112088" y="747517"/>
                    </a:cubicBezTo>
                    <a:cubicBezTo>
                      <a:pt x="112088" y="747517"/>
                      <a:pt x="112088" y="747517"/>
                      <a:pt x="111374" y="747517"/>
                    </a:cubicBezTo>
                    <a:cubicBezTo>
                      <a:pt x="110660" y="746805"/>
                      <a:pt x="109233" y="745380"/>
                      <a:pt x="108519" y="744667"/>
                    </a:cubicBezTo>
                    <a:cubicBezTo>
                      <a:pt x="106377" y="743242"/>
                      <a:pt x="104235" y="741817"/>
                      <a:pt x="102093" y="739679"/>
                    </a:cubicBezTo>
                    <a:cubicBezTo>
                      <a:pt x="102093" y="739679"/>
                      <a:pt x="102093" y="739679"/>
                      <a:pt x="101379" y="739679"/>
                    </a:cubicBezTo>
                    <a:cubicBezTo>
                      <a:pt x="100665" y="738966"/>
                      <a:pt x="99951" y="738254"/>
                      <a:pt x="99237" y="737541"/>
                    </a:cubicBezTo>
                    <a:cubicBezTo>
                      <a:pt x="95668" y="734691"/>
                      <a:pt x="92812" y="732553"/>
                      <a:pt x="89956" y="729702"/>
                    </a:cubicBezTo>
                    <a:cubicBezTo>
                      <a:pt x="89242" y="728990"/>
                      <a:pt x="88528" y="728990"/>
                      <a:pt x="87814" y="728277"/>
                    </a:cubicBezTo>
                    <a:cubicBezTo>
                      <a:pt x="85673" y="725427"/>
                      <a:pt x="83531" y="724002"/>
                      <a:pt x="81389" y="721864"/>
                    </a:cubicBezTo>
                    <a:cubicBezTo>
                      <a:pt x="80675" y="721151"/>
                      <a:pt x="79961" y="719726"/>
                      <a:pt x="78533" y="719013"/>
                    </a:cubicBezTo>
                    <a:cubicBezTo>
                      <a:pt x="78533" y="719013"/>
                      <a:pt x="78533" y="719013"/>
                      <a:pt x="78533" y="718301"/>
                    </a:cubicBezTo>
                    <a:cubicBezTo>
                      <a:pt x="76391" y="716876"/>
                      <a:pt x="74250" y="714738"/>
                      <a:pt x="72822" y="713313"/>
                    </a:cubicBezTo>
                    <a:cubicBezTo>
                      <a:pt x="72108" y="711887"/>
                      <a:pt x="70680" y="710462"/>
                      <a:pt x="69966" y="709750"/>
                    </a:cubicBezTo>
                    <a:cubicBezTo>
                      <a:pt x="67824" y="707612"/>
                      <a:pt x="66396" y="706187"/>
                      <a:pt x="64255" y="703336"/>
                    </a:cubicBezTo>
                    <a:cubicBezTo>
                      <a:pt x="63541" y="701911"/>
                      <a:pt x="62827" y="701198"/>
                      <a:pt x="62113" y="700486"/>
                    </a:cubicBezTo>
                    <a:cubicBezTo>
                      <a:pt x="59257" y="697635"/>
                      <a:pt x="57115" y="694785"/>
                      <a:pt x="54973" y="691935"/>
                    </a:cubicBezTo>
                    <a:cubicBezTo>
                      <a:pt x="54973" y="691935"/>
                      <a:pt x="54973" y="691935"/>
                      <a:pt x="54259" y="691222"/>
                    </a:cubicBezTo>
                    <a:cubicBezTo>
                      <a:pt x="52118" y="688372"/>
                      <a:pt x="49976" y="684809"/>
                      <a:pt x="47834" y="681246"/>
                    </a:cubicBezTo>
                    <a:cubicBezTo>
                      <a:pt x="47120" y="680533"/>
                      <a:pt x="46406" y="679820"/>
                      <a:pt x="45692" y="679108"/>
                    </a:cubicBezTo>
                    <a:cubicBezTo>
                      <a:pt x="45692" y="679108"/>
                      <a:pt x="45692" y="679108"/>
                      <a:pt x="44978" y="678395"/>
                    </a:cubicBezTo>
                    <a:cubicBezTo>
                      <a:pt x="43550" y="675545"/>
                      <a:pt x="42122" y="673407"/>
                      <a:pt x="40695" y="671269"/>
                    </a:cubicBezTo>
                    <a:cubicBezTo>
                      <a:pt x="39981" y="669844"/>
                      <a:pt x="39267" y="668419"/>
                      <a:pt x="38553" y="667706"/>
                    </a:cubicBezTo>
                    <a:cubicBezTo>
                      <a:pt x="37125" y="665568"/>
                      <a:pt x="35697" y="662718"/>
                      <a:pt x="34269" y="660580"/>
                    </a:cubicBezTo>
                    <a:cubicBezTo>
                      <a:pt x="34269" y="660580"/>
                      <a:pt x="34269" y="660580"/>
                      <a:pt x="34269" y="659868"/>
                    </a:cubicBezTo>
                    <a:cubicBezTo>
                      <a:pt x="33555" y="659155"/>
                      <a:pt x="32841" y="657730"/>
                      <a:pt x="32127" y="657017"/>
                    </a:cubicBezTo>
                    <a:cubicBezTo>
                      <a:pt x="30700" y="654167"/>
                      <a:pt x="29986" y="651316"/>
                      <a:pt x="27844" y="648466"/>
                    </a:cubicBezTo>
                    <a:cubicBezTo>
                      <a:pt x="27844" y="647753"/>
                      <a:pt x="27130" y="647041"/>
                      <a:pt x="27130" y="646328"/>
                    </a:cubicBezTo>
                    <a:cubicBezTo>
                      <a:pt x="24988" y="642765"/>
                      <a:pt x="23560" y="639202"/>
                      <a:pt x="22132" y="634927"/>
                    </a:cubicBezTo>
                    <a:cubicBezTo>
                      <a:pt x="21418" y="634214"/>
                      <a:pt x="21418" y="633501"/>
                      <a:pt x="20704" y="632789"/>
                    </a:cubicBezTo>
                    <a:cubicBezTo>
                      <a:pt x="20704" y="632789"/>
                      <a:pt x="20704" y="632789"/>
                      <a:pt x="20704" y="632076"/>
                    </a:cubicBezTo>
                    <a:cubicBezTo>
                      <a:pt x="19277" y="629226"/>
                      <a:pt x="18563" y="626375"/>
                      <a:pt x="17135" y="623525"/>
                    </a:cubicBezTo>
                    <a:cubicBezTo>
                      <a:pt x="17135" y="622812"/>
                      <a:pt x="16421" y="621387"/>
                      <a:pt x="15707" y="620675"/>
                    </a:cubicBezTo>
                    <a:cubicBezTo>
                      <a:pt x="15707" y="620675"/>
                      <a:pt x="15707" y="620675"/>
                      <a:pt x="15707" y="619962"/>
                    </a:cubicBezTo>
                    <a:cubicBezTo>
                      <a:pt x="14993" y="617112"/>
                      <a:pt x="14279" y="614261"/>
                      <a:pt x="12851" y="612123"/>
                    </a:cubicBezTo>
                    <a:cubicBezTo>
                      <a:pt x="12851" y="612123"/>
                      <a:pt x="12137" y="609273"/>
                      <a:pt x="12137" y="607848"/>
                    </a:cubicBezTo>
                    <a:cubicBezTo>
                      <a:pt x="10709" y="604997"/>
                      <a:pt x="9995" y="602147"/>
                      <a:pt x="9281" y="599297"/>
                    </a:cubicBezTo>
                    <a:cubicBezTo>
                      <a:pt x="9281" y="599297"/>
                      <a:pt x="9281" y="599297"/>
                      <a:pt x="9281" y="598584"/>
                    </a:cubicBezTo>
                    <a:cubicBezTo>
                      <a:pt x="9281" y="597871"/>
                      <a:pt x="8567" y="596446"/>
                      <a:pt x="8567" y="595734"/>
                    </a:cubicBezTo>
                    <a:cubicBezTo>
                      <a:pt x="7140" y="591458"/>
                      <a:pt x="6426" y="587895"/>
                      <a:pt x="5712" y="583619"/>
                    </a:cubicBezTo>
                    <a:cubicBezTo>
                      <a:pt x="5712" y="582907"/>
                      <a:pt x="4998" y="581482"/>
                      <a:pt x="4998" y="580769"/>
                    </a:cubicBezTo>
                    <a:cubicBezTo>
                      <a:pt x="4284" y="577919"/>
                      <a:pt x="3570" y="574356"/>
                      <a:pt x="3570" y="571505"/>
                    </a:cubicBezTo>
                    <a:cubicBezTo>
                      <a:pt x="3570" y="570793"/>
                      <a:pt x="2856" y="569367"/>
                      <a:pt x="2856" y="568655"/>
                    </a:cubicBezTo>
                    <a:cubicBezTo>
                      <a:pt x="2856" y="568655"/>
                      <a:pt x="2856" y="568655"/>
                      <a:pt x="2856" y="567942"/>
                    </a:cubicBezTo>
                    <a:cubicBezTo>
                      <a:pt x="2856" y="567942"/>
                      <a:pt x="2856" y="567942"/>
                      <a:pt x="2856" y="567230"/>
                    </a:cubicBezTo>
                    <a:cubicBezTo>
                      <a:pt x="2142" y="564379"/>
                      <a:pt x="2142" y="561529"/>
                      <a:pt x="1428" y="558678"/>
                    </a:cubicBezTo>
                    <a:cubicBezTo>
                      <a:pt x="1428" y="557253"/>
                      <a:pt x="1428" y="555828"/>
                      <a:pt x="1428" y="554403"/>
                    </a:cubicBezTo>
                    <a:cubicBezTo>
                      <a:pt x="714" y="551552"/>
                      <a:pt x="714" y="548702"/>
                      <a:pt x="714" y="545852"/>
                    </a:cubicBezTo>
                    <a:cubicBezTo>
                      <a:pt x="714" y="545852"/>
                      <a:pt x="714" y="545852"/>
                      <a:pt x="714" y="545139"/>
                    </a:cubicBezTo>
                    <a:cubicBezTo>
                      <a:pt x="714" y="543714"/>
                      <a:pt x="0" y="543001"/>
                      <a:pt x="0" y="541576"/>
                    </a:cubicBezTo>
                    <a:cubicBezTo>
                      <a:pt x="0" y="536588"/>
                      <a:pt x="0" y="533025"/>
                      <a:pt x="0" y="528749"/>
                    </a:cubicBezTo>
                    <a:cubicBezTo>
                      <a:pt x="0" y="463190"/>
                      <a:pt x="24274" y="399769"/>
                      <a:pt x="67110" y="350599"/>
                    </a:cubicBezTo>
                    <a:cubicBezTo>
                      <a:pt x="97810" y="315682"/>
                      <a:pt x="136362" y="290028"/>
                      <a:pt x="179912" y="274351"/>
                    </a:cubicBezTo>
                    <a:cubicBezTo>
                      <a:pt x="192763" y="121142"/>
                      <a:pt x="322700" y="0"/>
                      <a:pt x="480479" y="0"/>
                    </a:cubicBezTo>
                    <a:close/>
                  </a:path>
                </a:pathLst>
              </a:custGeom>
              <a:solidFill>
                <a:srgbClr val="2D716B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1800" b="0" i="0" u="none" strike="noStrike" kern="1200" cap="none" spc="0" normalizeH="0" baseline="0" noProof="0">
                  <a:ln>
                    <a:noFill/>
                  </a:ln>
                  <a:solidFill>
                    <a:srgbClr val="575757"/>
                  </a:solidFill>
                  <a:effectLst/>
                  <a:uLnTx/>
                  <a:uFillTx/>
                  <a:latin typeface="+mj-lt"/>
                </a:endParaRPr>
              </a:p>
            </p:txBody>
          </p:sp>
          <p:sp>
            <p:nvSpPr>
              <p:cNvPr id="122" name="Freeform 6">
                <a:extLst>
                  <a:ext uri="{FF2B5EF4-FFF2-40B4-BE49-F238E27FC236}">
                    <a16:creationId xmlns:a16="http://schemas.microsoft.com/office/drawing/2014/main" id="{B100EC72-152D-0B5F-0233-A1B308B524B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11800" y="3044825"/>
                <a:ext cx="1166813" cy="766763"/>
              </a:xfrm>
              <a:custGeom>
                <a:avLst/>
                <a:gdLst>
                  <a:gd name="connsiteX0" fmla="*/ 822458 w 1166813"/>
                  <a:gd name="connsiteY0" fmla="*/ 412750 h 766763"/>
                  <a:gd name="connsiteX1" fmla="*/ 796661 w 1166813"/>
                  <a:gd name="connsiteY1" fmla="*/ 419822 h 766763"/>
                  <a:gd name="connsiteX2" fmla="*/ 779463 w 1166813"/>
                  <a:gd name="connsiteY2" fmla="*/ 438208 h 766763"/>
                  <a:gd name="connsiteX3" fmla="*/ 798094 w 1166813"/>
                  <a:gd name="connsiteY3" fmla="*/ 452351 h 766763"/>
                  <a:gd name="connsiteX4" fmla="*/ 823891 w 1166813"/>
                  <a:gd name="connsiteY4" fmla="*/ 435379 h 766763"/>
                  <a:gd name="connsiteX5" fmla="*/ 844672 w 1166813"/>
                  <a:gd name="connsiteY5" fmla="*/ 453058 h 766763"/>
                  <a:gd name="connsiteX6" fmla="*/ 830341 w 1166813"/>
                  <a:gd name="connsiteY6" fmla="*/ 489123 h 766763"/>
                  <a:gd name="connsiteX7" fmla="*/ 780896 w 1166813"/>
                  <a:gd name="connsiteY7" fmla="*/ 560546 h 766763"/>
                  <a:gd name="connsiteX8" fmla="*/ 780896 w 1166813"/>
                  <a:gd name="connsiteY8" fmla="*/ 568325 h 766763"/>
                  <a:gd name="connsiteX9" fmla="*/ 882651 w 1166813"/>
                  <a:gd name="connsiteY9" fmla="*/ 568325 h 766763"/>
                  <a:gd name="connsiteX10" fmla="*/ 882651 w 1166813"/>
                  <a:gd name="connsiteY10" fmla="*/ 544282 h 766763"/>
                  <a:gd name="connsiteX11" fmla="*/ 824608 w 1166813"/>
                  <a:gd name="connsiteY11" fmla="*/ 544282 h 766763"/>
                  <a:gd name="connsiteX12" fmla="*/ 856138 w 1166813"/>
                  <a:gd name="connsiteY12" fmla="*/ 496195 h 766763"/>
                  <a:gd name="connsiteX13" fmla="*/ 873336 w 1166813"/>
                  <a:gd name="connsiteY13" fmla="*/ 453058 h 766763"/>
                  <a:gd name="connsiteX14" fmla="*/ 860437 w 1166813"/>
                  <a:gd name="connsiteY14" fmla="*/ 423358 h 766763"/>
                  <a:gd name="connsiteX15" fmla="*/ 822458 w 1166813"/>
                  <a:gd name="connsiteY15" fmla="*/ 412750 h 766763"/>
                  <a:gd name="connsiteX16" fmla="*/ 631630 w 1166813"/>
                  <a:gd name="connsiteY16" fmla="*/ 295275 h 766763"/>
                  <a:gd name="connsiteX17" fmla="*/ 700088 w 1166813"/>
                  <a:gd name="connsiteY17" fmla="*/ 388741 h 766763"/>
                  <a:gd name="connsiteX18" fmla="*/ 681548 w 1166813"/>
                  <a:gd name="connsiteY18" fmla="*/ 460803 h 766763"/>
                  <a:gd name="connsiteX19" fmla="*/ 628065 w 1166813"/>
                  <a:gd name="connsiteY19" fmla="*/ 485775 h 766763"/>
                  <a:gd name="connsiteX20" fmla="*/ 582426 w 1166813"/>
                  <a:gd name="connsiteY20" fmla="*/ 460803 h 766763"/>
                  <a:gd name="connsiteX21" fmla="*/ 566738 w 1166813"/>
                  <a:gd name="connsiteY21" fmla="*/ 388741 h 766763"/>
                  <a:gd name="connsiteX22" fmla="*/ 583140 w 1166813"/>
                  <a:gd name="connsiteY22" fmla="*/ 320247 h 766763"/>
                  <a:gd name="connsiteX23" fmla="*/ 631630 w 1166813"/>
                  <a:gd name="connsiteY23" fmla="*/ 295275 h 766763"/>
                  <a:gd name="connsiteX24" fmla="*/ 631630 w 1166813"/>
                  <a:gd name="connsiteY24" fmla="*/ 252413 h 766763"/>
                  <a:gd name="connsiteX25" fmla="*/ 548191 w 1166813"/>
                  <a:gd name="connsiteY25" fmla="*/ 291647 h 766763"/>
                  <a:gd name="connsiteX26" fmla="*/ 517525 w 1166813"/>
                  <a:gd name="connsiteY26" fmla="*/ 387949 h 766763"/>
                  <a:gd name="connsiteX27" fmla="*/ 546051 w 1166813"/>
                  <a:gd name="connsiteY27" fmla="*/ 489957 h 766763"/>
                  <a:gd name="connsiteX28" fmla="*/ 628064 w 1166813"/>
                  <a:gd name="connsiteY28" fmla="*/ 527051 h 766763"/>
                  <a:gd name="connsiteX29" fmla="*/ 717921 w 1166813"/>
                  <a:gd name="connsiteY29" fmla="*/ 489244 h 766763"/>
                  <a:gd name="connsiteX30" fmla="*/ 749300 w 1166813"/>
                  <a:gd name="connsiteY30" fmla="*/ 387949 h 766763"/>
                  <a:gd name="connsiteX31" fmla="*/ 718635 w 1166813"/>
                  <a:gd name="connsiteY31" fmla="*/ 288080 h 766763"/>
                  <a:gd name="connsiteX32" fmla="*/ 631630 w 1166813"/>
                  <a:gd name="connsiteY32" fmla="*/ 252413 h 766763"/>
                  <a:gd name="connsiteX33" fmla="*/ 412336 w 1166813"/>
                  <a:gd name="connsiteY33" fmla="*/ 252413 h 766763"/>
                  <a:gd name="connsiteX34" fmla="*/ 324709 w 1166813"/>
                  <a:gd name="connsiteY34" fmla="*/ 292360 h 766763"/>
                  <a:gd name="connsiteX35" fmla="*/ 290513 w 1166813"/>
                  <a:gd name="connsiteY35" fmla="*/ 390802 h 766763"/>
                  <a:gd name="connsiteX36" fmla="*/ 321859 w 1166813"/>
                  <a:gd name="connsiteY36" fmla="*/ 490671 h 766763"/>
                  <a:gd name="connsiteX37" fmla="*/ 408061 w 1166813"/>
                  <a:gd name="connsiteY37" fmla="*/ 527051 h 766763"/>
                  <a:gd name="connsiteX38" fmla="*/ 492126 w 1166813"/>
                  <a:gd name="connsiteY38" fmla="*/ 496377 h 766763"/>
                  <a:gd name="connsiteX39" fmla="*/ 470041 w 1166813"/>
                  <a:gd name="connsiteY39" fmla="*/ 458570 h 766763"/>
                  <a:gd name="connsiteX40" fmla="*/ 411624 w 1166813"/>
                  <a:gd name="connsiteY40" fmla="*/ 484964 h 766763"/>
                  <a:gd name="connsiteX41" fmla="*/ 359617 w 1166813"/>
                  <a:gd name="connsiteY41" fmla="*/ 459997 h 766763"/>
                  <a:gd name="connsiteX42" fmla="*/ 339670 w 1166813"/>
                  <a:gd name="connsiteY42" fmla="*/ 392942 h 766763"/>
                  <a:gd name="connsiteX43" fmla="*/ 361042 w 1166813"/>
                  <a:gd name="connsiteY43" fmla="*/ 322321 h 766763"/>
                  <a:gd name="connsiteX44" fmla="*/ 415186 w 1166813"/>
                  <a:gd name="connsiteY44" fmla="*/ 294501 h 766763"/>
                  <a:gd name="connsiteX45" fmla="*/ 465767 w 1166813"/>
                  <a:gd name="connsiteY45" fmla="*/ 310194 h 766763"/>
                  <a:gd name="connsiteX46" fmla="*/ 485002 w 1166813"/>
                  <a:gd name="connsiteY46" fmla="*/ 271673 h 766763"/>
                  <a:gd name="connsiteX47" fmla="*/ 412336 w 1166813"/>
                  <a:gd name="connsiteY47" fmla="*/ 252413 h 766763"/>
                  <a:gd name="connsiteX48" fmla="*/ 417739 w 1166813"/>
                  <a:gd name="connsiteY48" fmla="*/ 0 h 766763"/>
                  <a:gd name="connsiteX49" fmla="*/ 616255 w 1166813"/>
                  <a:gd name="connsiteY49" fmla="*/ 104040 h 766763"/>
                  <a:gd name="connsiteX50" fmla="*/ 709800 w 1166813"/>
                  <a:gd name="connsiteY50" fmla="*/ 76961 h 766763"/>
                  <a:gd name="connsiteX51" fmla="*/ 884036 w 1166813"/>
                  <a:gd name="connsiteY51" fmla="*/ 248699 h 766763"/>
                  <a:gd name="connsiteX52" fmla="*/ 885464 w 1166813"/>
                  <a:gd name="connsiteY52" fmla="*/ 248699 h 766763"/>
                  <a:gd name="connsiteX53" fmla="*/ 891177 w 1166813"/>
                  <a:gd name="connsiteY53" fmla="*/ 248699 h 766763"/>
                  <a:gd name="connsiteX54" fmla="*/ 1026853 w 1166813"/>
                  <a:gd name="connsiteY54" fmla="*/ 336350 h 766763"/>
                  <a:gd name="connsiteX55" fmla="*/ 1068984 w 1166813"/>
                  <a:gd name="connsiteY55" fmla="*/ 349889 h 766763"/>
                  <a:gd name="connsiteX56" fmla="*/ 1069698 w 1166813"/>
                  <a:gd name="connsiteY56" fmla="*/ 349889 h 766763"/>
                  <a:gd name="connsiteX57" fmla="*/ 1081123 w 1166813"/>
                  <a:gd name="connsiteY57" fmla="*/ 356303 h 766763"/>
                  <a:gd name="connsiteX58" fmla="*/ 1083265 w 1166813"/>
                  <a:gd name="connsiteY58" fmla="*/ 357728 h 766763"/>
                  <a:gd name="connsiteX59" fmla="*/ 1096833 w 1166813"/>
                  <a:gd name="connsiteY59" fmla="*/ 366279 h 766763"/>
                  <a:gd name="connsiteX60" fmla="*/ 1107544 w 1166813"/>
                  <a:gd name="connsiteY60" fmla="*/ 374830 h 766763"/>
                  <a:gd name="connsiteX61" fmla="*/ 1113971 w 1166813"/>
                  <a:gd name="connsiteY61" fmla="*/ 381244 h 766763"/>
                  <a:gd name="connsiteX62" fmla="*/ 1130395 w 1166813"/>
                  <a:gd name="connsiteY62" fmla="*/ 398346 h 766763"/>
                  <a:gd name="connsiteX63" fmla="*/ 1145391 w 1166813"/>
                  <a:gd name="connsiteY63" fmla="*/ 421150 h 766763"/>
                  <a:gd name="connsiteX64" fmla="*/ 1162529 w 1166813"/>
                  <a:gd name="connsiteY64" fmla="*/ 466044 h 766763"/>
                  <a:gd name="connsiteX65" fmla="*/ 1166813 w 1166813"/>
                  <a:gd name="connsiteY65" fmla="*/ 503812 h 766763"/>
                  <a:gd name="connsiteX66" fmla="*/ 1166813 w 1166813"/>
                  <a:gd name="connsiteY66" fmla="*/ 512363 h 766763"/>
                  <a:gd name="connsiteX67" fmla="*/ 1163243 w 1166813"/>
                  <a:gd name="connsiteY67" fmla="*/ 538017 h 766763"/>
                  <a:gd name="connsiteX68" fmla="*/ 1161101 w 1166813"/>
                  <a:gd name="connsiteY68" fmla="*/ 546568 h 766763"/>
                  <a:gd name="connsiteX69" fmla="*/ 994005 w 1166813"/>
                  <a:gd name="connsiteY69" fmla="*/ 674125 h 766763"/>
                  <a:gd name="connsiteX70" fmla="*/ 961871 w 1166813"/>
                  <a:gd name="connsiteY70" fmla="*/ 674125 h 766763"/>
                  <a:gd name="connsiteX71" fmla="*/ 961157 w 1166813"/>
                  <a:gd name="connsiteY71" fmla="*/ 674837 h 766763"/>
                  <a:gd name="connsiteX72" fmla="*/ 956158 w 1166813"/>
                  <a:gd name="connsiteY72" fmla="*/ 679113 h 766763"/>
                  <a:gd name="connsiteX73" fmla="*/ 954016 w 1166813"/>
                  <a:gd name="connsiteY73" fmla="*/ 681251 h 766763"/>
                  <a:gd name="connsiteX74" fmla="*/ 950446 w 1166813"/>
                  <a:gd name="connsiteY74" fmla="*/ 684101 h 766763"/>
                  <a:gd name="connsiteX75" fmla="*/ 947589 w 1166813"/>
                  <a:gd name="connsiteY75" fmla="*/ 685526 h 766763"/>
                  <a:gd name="connsiteX76" fmla="*/ 944019 w 1166813"/>
                  <a:gd name="connsiteY76" fmla="*/ 688377 h 766763"/>
                  <a:gd name="connsiteX77" fmla="*/ 941163 w 1166813"/>
                  <a:gd name="connsiteY77" fmla="*/ 690514 h 766763"/>
                  <a:gd name="connsiteX78" fmla="*/ 937592 w 1166813"/>
                  <a:gd name="connsiteY78" fmla="*/ 692652 h 766763"/>
                  <a:gd name="connsiteX79" fmla="*/ 934736 w 1166813"/>
                  <a:gd name="connsiteY79" fmla="*/ 694077 h 766763"/>
                  <a:gd name="connsiteX80" fmla="*/ 931166 w 1166813"/>
                  <a:gd name="connsiteY80" fmla="*/ 696215 h 766763"/>
                  <a:gd name="connsiteX81" fmla="*/ 928309 w 1166813"/>
                  <a:gd name="connsiteY81" fmla="*/ 697640 h 766763"/>
                  <a:gd name="connsiteX82" fmla="*/ 924025 w 1166813"/>
                  <a:gd name="connsiteY82" fmla="*/ 699778 h 766763"/>
                  <a:gd name="connsiteX83" fmla="*/ 921168 w 1166813"/>
                  <a:gd name="connsiteY83" fmla="*/ 701203 h 766763"/>
                  <a:gd name="connsiteX84" fmla="*/ 917598 w 1166813"/>
                  <a:gd name="connsiteY84" fmla="*/ 703341 h 766763"/>
                  <a:gd name="connsiteX85" fmla="*/ 914028 w 1166813"/>
                  <a:gd name="connsiteY85" fmla="*/ 704767 h 766763"/>
                  <a:gd name="connsiteX86" fmla="*/ 910457 w 1166813"/>
                  <a:gd name="connsiteY86" fmla="*/ 706192 h 766763"/>
                  <a:gd name="connsiteX87" fmla="*/ 906887 w 1166813"/>
                  <a:gd name="connsiteY87" fmla="*/ 706904 h 766763"/>
                  <a:gd name="connsiteX88" fmla="*/ 902602 w 1166813"/>
                  <a:gd name="connsiteY88" fmla="*/ 708330 h 766763"/>
                  <a:gd name="connsiteX89" fmla="*/ 899746 w 1166813"/>
                  <a:gd name="connsiteY89" fmla="*/ 709755 h 766763"/>
                  <a:gd name="connsiteX90" fmla="*/ 896175 w 1166813"/>
                  <a:gd name="connsiteY90" fmla="*/ 710467 h 766763"/>
                  <a:gd name="connsiteX91" fmla="*/ 892605 w 1166813"/>
                  <a:gd name="connsiteY91" fmla="*/ 711893 h 766763"/>
                  <a:gd name="connsiteX92" fmla="*/ 888321 w 1166813"/>
                  <a:gd name="connsiteY92" fmla="*/ 712605 h 766763"/>
                  <a:gd name="connsiteX93" fmla="*/ 885464 w 1166813"/>
                  <a:gd name="connsiteY93" fmla="*/ 713318 h 766763"/>
                  <a:gd name="connsiteX94" fmla="*/ 880466 w 1166813"/>
                  <a:gd name="connsiteY94" fmla="*/ 714030 h 766763"/>
                  <a:gd name="connsiteX95" fmla="*/ 877609 w 1166813"/>
                  <a:gd name="connsiteY95" fmla="*/ 714743 h 766763"/>
                  <a:gd name="connsiteX96" fmla="*/ 872611 w 1166813"/>
                  <a:gd name="connsiteY96" fmla="*/ 715456 h 766763"/>
                  <a:gd name="connsiteX97" fmla="*/ 869754 w 1166813"/>
                  <a:gd name="connsiteY97" fmla="*/ 715456 h 766763"/>
                  <a:gd name="connsiteX98" fmla="*/ 864042 w 1166813"/>
                  <a:gd name="connsiteY98" fmla="*/ 716168 h 766763"/>
                  <a:gd name="connsiteX99" fmla="*/ 861185 w 1166813"/>
                  <a:gd name="connsiteY99" fmla="*/ 716168 h 766763"/>
                  <a:gd name="connsiteX100" fmla="*/ 854044 w 1166813"/>
                  <a:gd name="connsiteY100" fmla="*/ 716168 h 766763"/>
                  <a:gd name="connsiteX101" fmla="*/ 853330 w 1166813"/>
                  <a:gd name="connsiteY101" fmla="*/ 716168 h 766763"/>
                  <a:gd name="connsiteX102" fmla="*/ 846190 w 1166813"/>
                  <a:gd name="connsiteY102" fmla="*/ 716168 h 766763"/>
                  <a:gd name="connsiteX103" fmla="*/ 843333 w 1166813"/>
                  <a:gd name="connsiteY103" fmla="*/ 716168 h 766763"/>
                  <a:gd name="connsiteX104" fmla="*/ 838335 w 1166813"/>
                  <a:gd name="connsiteY104" fmla="*/ 715456 h 766763"/>
                  <a:gd name="connsiteX105" fmla="*/ 836192 w 1166813"/>
                  <a:gd name="connsiteY105" fmla="*/ 715456 h 766763"/>
                  <a:gd name="connsiteX106" fmla="*/ 829052 w 1166813"/>
                  <a:gd name="connsiteY106" fmla="*/ 714743 h 766763"/>
                  <a:gd name="connsiteX107" fmla="*/ 827623 w 1166813"/>
                  <a:gd name="connsiteY107" fmla="*/ 714743 h 766763"/>
                  <a:gd name="connsiteX108" fmla="*/ 821911 w 1166813"/>
                  <a:gd name="connsiteY108" fmla="*/ 713318 h 766763"/>
                  <a:gd name="connsiteX109" fmla="*/ 819054 w 1166813"/>
                  <a:gd name="connsiteY109" fmla="*/ 712605 h 766763"/>
                  <a:gd name="connsiteX110" fmla="*/ 814770 w 1166813"/>
                  <a:gd name="connsiteY110" fmla="*/ 711893 h 766763"/>
                  <a:gd name="connsiteX111" fmla="*/ 811914 w 1166813"/>
                  <a:gd name="connsiteY111" fmla="*/ 711180 h 766763"/>
                  <a:gd name="connsiteX112" fmla="*/ 805487 w 1166813"/>
                  <a:gd name="connsiteY112" fmla="*/ 709042 h 766763"/>
                  <a:gd name="connsiteX113" fmla="*/ 802630 w 1166813"/>
                  <a:gd name="connsiteY113" fmla="*/ 708330 h 766763"/>
                  <a:gd name="connsiteX114" fmla="*/ 799060 w 1166813"/>
                  <a:gd name="connsiteY114" fmla="*/ 706904 h 766763"/>
                  <a:gd name="connsiteX115" fmla="*/ 795490 w 1166813"/>
                  <a:gd name="connsiteY115" fmla="*/ 706192 h 766763"/>
                  <a:gd name="connsiteX116" fmla="*/ 792633 w 1166813"/>
                  <a:gd name="connsiteY116" fmla="*/ 704767 h 766763"/>
                  <a:gd name="connsiteX117" fmla="*/ 789063 w 1166813"/>
                  <a:gd name="connsiteY117" fmla="*/ 703341 h 766763"/>
                  <a:gd name="connsiteX118" fmla="*/ 784778 w 1166813"/>
                  <a:gd name="connsiteY118" fmla="*/ 701203 h 766763"/>
                  <a:gd name="connsiteX119" fmla="*/ 780494 w 1166813"/>
                  <a:gd name="connsiteY119" fmla="*/ 699066 h 766763"/>
                  <a:gd name="connsiteX120" fmla="*/ 777638 w 1166813"/>
                  <a:gd name="connsiteY120" fmla="*/ 697640 h 766763"/>
                  <a:gd name="connsiteX121" fmla="*/ 774067 w 1166813"/>
                  <a:gd name="connsiteY121" fmla="*/ 696215 h 766763"/>
                  <a:gd name="connsiteX122" fmla="*/ 771925 w 1166813"/>
                  <a:gd name="connsiteY122" fmla="*/ 694790 h 766763"/>
                  <a:gd name="connsiteX123" fmla="*/ 763356 w 1166813"/>
                  <a:gd name="connsiteY123" fmla="*/ 689089 h 766763"/>
                  <a:gd name="connsiteX124" fmla="*/ 757643 w 1166813"/>
                  <a:gd name="connsiteY124" fmla="*/ 694790 h 766763"/>
                  <a:gd name="connsiteX125" fmla="*/ 751216 w 1166813"/>
                  <a:gd name="connsiteY125" fmla="*/ 699778 h 766763"/>
                  <a:gd name="connsiteX126" fmla="*/ 750502 w 1166813"/>
                  <a:gd name="connsiteY126" fmla="*/ 700491 h 766763"/>
                  <a:gd name="connsiteX127" fmla="*/ 744790 w 1166813"/>
                  <a:gd name="connsiteY127" fmla="*/ 704767 h 766763"/>
                  <a:gd name="connsiteX128" fmla="*/ 744076 w 1166813"/>
                  <a:gd name="connsiteY128" fmla="*/ 705479 h 766763"/>
                  <a:gd name="connsiteX129" fmla="*/ 738363 w 1166813"/>
                  <a:gd name="connsiteY129" fmla="*/ 709042 h 766763"/>
                  <a:gd name="connsiteX130" fmla="*/ 736935 w 1166813"/>
                  <a:gd name="connsiteY130" fmla="*/ 709755 h 766763"/>
                  <a:gd name="connsiteX131" fmla="*/ 731222 w 1166813"/>
                  <a:gd name="connsiteY131" fmla="*/ 713318 h 766763"/>
                  <a:gd name="connsiteX132" fmla="*/ 729080 w 1166813"/>
                  <a:gd name="connsiteY132" fmla="*/ 714743 h 766763"/>
                  <a:gd name="connsiteX133" fmla="*/ 724081 w 1166813"/>
                  <a:gd name="connsiteY133" fmla="*/ 717593 h 766763"/>
                  <a:gd name="connsiteX134" fmla="*/ 721939 w 1166813"/>
                  <a:gd name="connsiteY134" fmla="*/ 718306 h 766763"/>
                  <a:gd name="connsiteX135" fmla="*/ 716226 w 1166813"/>
                  <a:gd name="connsiteY135" fmla="*/ 721156 h 766763"/>
                  <a:gd name="connsiteX136" fmla="*/ 714084 w 1166813"/>
                  <a:gd name="connsiteY136" fmla="*/ 722582 h 766763"/>
                  <a:gd name="connsiteX137" fmla="*/ 708371 w 1166813"/>
                  <a:gd name="connsiteY137" fmla="*/ 724719 h 766763"/>
                  <a:gd name="connsiteX138" fmla="*/ 706229 w 1166813"/>
                  <a:gd name="connsiteY138" fmla="*/ 725432 h 766763"/>
                  <a:gd name="connsiteX139" fmla="*/ 700516 w 1166813"/>
                  <a:gd name="connsiteY139" fmla="*/ 727570 h 766763"/>
                  <a:gd name="connsiteX140" fmla="*/ 697660 w 1166813"/>
                  <a:gd name="connsiteY140" fmla="*/ 728282 h 766763"/>
                  <a:gd name="connsiteX141" fmla="*/ 692662 w 1166813"/>
                  <a:gd name="connsiteY141" fmla="*/ 730420 h 766763"/>
                  <a:gd name="connsiteX142" fmla="*/ 689091 w 1166813"/>
                  <a:gd name="connsiteY142" fmla="*/ 731133 h 766763"/>
                  <a:gd name="connsiteX143" fmla="*/ 684093 w 1166813"/>
                  <a:gd name="connsiteY143" fmla="*/ 732558 h 766763"/>
                  <a:gd name="connsiteX144" fmla="*/ 680522 w 1166813"/>
                  <a:gd name="connsiteY144" fmla="*/ 733271 h 766763"/>
                  <a:gd name="connsiteX145" fmla="*/ 675524 w 1166813"/>
                  <a:gd name="connsiteY145" fmla="*/ 734696 h 766763"/>
                  <a:gd name="connsiteX146" fmla="*/ 671239 w 1166813"/>
                  <a:gd name="connsiteY146" fmla="*/ 735409 h 766763"/>
                  <a:gd name="connsiteX147" fmla="*/ 666955 w 1166813"/>
                  <a:gd name="connsiteY147" fmla="*/ 736121 h 766763"/>
                  <a:gd name="connsiteX148" fmla="*/ 662670 w 1166813"/>
                  <a:gd name="connsiteY148" fmla="*/ 736834 h 766763"/>
                  <a:gd name="connsiteX149" fmla="*/ 658386 w 1166813"/>
                  <a:gd name="connsiteY149" fmla="*/ 736834 h 766763"/>
                  <a:gd name="connsiteX150" fmla="*/ 652673 w 1166813"/>
                  <a:gd name="connsiteY150" fmla="*/ 737546 h 766763"/>
                  <a:gd name="connsiteX151" fmla="*/ 649102 w 1166813"/>
                  <a:gd name="connsiteY151" fmla="*/ 737546 h 766763"/>
                  <a:gd name="connsiteX152" fmla="*/ 640533 w 1166813"/>
                  <a:gd name="connsiteY152" fmla="*/ 738259 h 766763"/>
                  <a:gd name="connsiteX153" fmla="*/ 631250 w 1166813"/>
                  <a:gd name="connsiteY153" fmla="*/ 737546 h 766763"/>
                  <a:gd name="connsiteX154" fmla="*/ 627680 w 1166813"/>
                  <a:gd name="connsiteY154" fmla="*/ 737546 h 766763"/>
                  <a:gd name="connsiteX155" fmla="*/ 621967 w 1166813"/>
                  <a:gd name="connsiteY155" fmla="*/ 736834 h 766763"/>
                  <a:gd name="connsiteX156" fmla="*/ 617683 w 1166813"/>
                  <a:gd name="connsiteY156" fmla="*/ 736121 h 766763"/>
                  <a:gd name="connsiteX157" fmla="*/ 613398 w 1166813"/>
                  <a:gd name="connsiteY157" fmla="*/ 736121 h 766763"/>
                  <a:gd name="connsiteX158" fmla="*/ 607686 w 1166813"/>
                  <a:gd name="connsiteY158" fmla="*/ 734696 h 766763"/>
                  <a:gd name="connsiteX159" fmla="*/ 604115 w 1166813"/>
                  <a:gd name="connsiteY159" fmla="*/ 733983 h 766763"/>
                  <a:gd name="connsiteX160" fmla="*/ 598402 w 1166813"/>
                  <a:gd name="connsiteY160" fmla="*/ 733271 h 766763"/>
                  <a:gd name="connsiteX161" fmla="*/ 595546 w 1166813"/>
                  <a:gd name="connsiteY161" fmla="*/ 732558 h 766763"/>
                  <a:gd name="connsiteX162" fmla="*/ 589119 w 1166813"/>
                  <a:gd name="connsiteY162" fmla="*/ 730420 h 766763"/>
                  <a:gd name="connsiteX163" fmla="*/ 586977 w 1166813"/>
                  <a:gd name="connsiteY163" fmla="*/ 729708 h 766763"/>
                  <a:gd name="connsiteX164" fmla="*/ 580550 w 1166813"/>
                  <a:gd name="connsiteY164" fmla="*/ 727570 h 766763"/>
                  <a:gd name="connsiteX165" fmla="*/ 579122 w 1166813"/>
                  <a:gd name="connsiteY165" fmla="*/ 727570 h 766763"/>
                  <a:gd name="connsiteX166" fmla="*/ 571981 w 1166813"/>
                  <a:gd name="connsiteY166" fmla="*/ 724719 h 766763"/>
                  <a:gd name="connsiteX167" fmla="*/ 570553 w 1166813"/>
                  <a:gd name="connsiteY167" fmla="*/ 724007 h 766763"/>
                  <a:gd name="connsiteX168" fmla="*/ 564126 w 1166813"/>
                  <a:gd name="connsiteY168" fmla="*/ 721156 h 766763"/>
                  <a:gd name="connsiteX169" fmla="*/ 562698 w 1166813"/>
                  <a:gd name="connsiteY169" fmla="*/ 720444 h 766763"/>
                  <a:gd name="connsiteX170" fmla="*/ 555557 w 1166813"/>
                  <a:gd name="connsiteY170" fmla="*/ 716881 h 766763"/>
                  <a:gd name="connsiteX171" fmla="*/ 548417 w 1166813"/>
                  <a:gd name="connsiteY171" fmla="*/ 712605 h 766763"/>
                  <a:gd name="connsiteX172" fmla="*/ 547703 w 1166813"/>
                  <a:gd name="connsiteY172" fmla="*/ 712605 h 766763"/>
                  <a:gd name="connsiteX173" fmla="*/ 540562 w 1166813"/>
                  <a:gd name="connsiteY173" fmla="*/ 708330 h 766763"/>
                  <a:gd name="connsiteX174" fmla="*/ 514141 w 1166813"/>
                  <a:gd name="connsiteY174" fmla="*/ 686951 h 766763"/>
                  <a:gd name="connsiteX175" fmla="*/ 506286 w 1166813"/>
                  <a:gd name="connsiteY175" fmla="*/ 695503 h 766763"/>
                  <a:gd name="connsiteX176" fmla="*/ 505572 w 1166813"/>
                  <a:gd name="connsiteY176" fmla="*/ 695503 h 766763"/>
                  <a:gd name="connsiteX177" fmla="*/ 497717 w 1166813"/>
                  <a:gd name="connsiteY177" fmla="*/ 704054 h 766763"/>
                  <a:gd name="connsiteX178" fmla="*/ 497003 w 1166813"/>
                  <a:gd name="connsiteY178" fmla="*/ 704054 h 766763"/>
                  <a:gd name="connsiteX179" fmla="*/ 474152 w 1166813"/>
                  <a:gd name="connsiteY179" fmla="*/ 723294 h 766763"/>
                  <a:gd name="connsiteX180" fmla="*/ 472724 w 1166813"/>
                  <a:gd name="connsiteY180" fmla="*/ 724719 h 766763"/>
                  <a:gd name="connsiteX181" fmla="*/ 464869 w 1166813"/>
                  <a:gd name="connsiteY181" fmla="*/ 729708 h 766763"/>
                  <a:gd name="connsiteX182" fmla="*/ 462012 w 1166813"/>
                  <a:gd name="connsiteY182" fmla="*/ 731846 h 766763"/>
                  <a:gd name="connsiteX183" fmla="*/ 455586 w 1166813"/>
                  <a:gd name="connsiteY183" fmla="*/ 735409 h 766763"/>
                  <a:gd name="connsiteX184" fmla="*/ 452015 w 1166813"/>
                  <a:gd name="connsiteY184" fmla="*/ 737546 h 766763"/>
                  <a:gd name="connsiteX185" fmla="*/ 446303 w 1166813"/>
                  <a:gd name="connsiteY185" fmla="*/ 740397 h 766763"/>
                  <a:gd name="connsiteX186" fmla="*/ 441304 w 1166813"/>
                  <a:gd name="connsiteY186" fmla="*/ 743247 h 766763"/>
                  <a:gd name="connsiteX187" fmla="*/ 437734 w 1166813"/>
                  <a:gd name="connsiteY187" fmla="*/ 745385 h 766763"/>
                  <a:gd name="connsiteX188" fmla="*/ 430593 w 1166813"/>
                  <a:gd name="connsiteY188" fmla="*/ 748235 h 766763"/>
                  <a:gd name="connsiteX189" fmla="*/ 427022 w 1166813"/>
                  <a:gd name="connsiteY189" fmla="*/ 749661 h 766763"/>
                  <a:gd name="connsiteX190" fmla="*/ 419167 w 1166813"/>
                  <a:gd name="connsiteY190" fmla="*/ 752511 h 766763"/>
                  <a:gd name="connsiteX191" fmla="*/ 416311 w 1166813"/>
                  <a:gd name="connsiteY191" fmla="*/ 753936 h 766763"/>
                  <a:gd name="connsiteX192" fmla="*/ 408456 w 1166813"/>
                  <a:gd name="connsiteY192" fmla="*/ 756787 h 766763"/>
                  <a:gd name="connsiteX193" fmla="*/ 406314 w 1166813"/>
                  <a:gd name="connsiteY193" fmla="*/ 756787 h 766763"/>
                  <a:gd name="connsiteX194" fmla="*/ 397745 w 1166813"/>
                  <a:gd name="connsiteY194" fmla="*/ 759637 h 766763"/>
                  <a:gd name="connsiteX195" fmla="*/ 396317 w 1166813"/>
                  <a:gd name="connsiteY195" fmla="*/ 759637 h 766763"/>
                  <a:gd name="connsiteX196" fmla="*/ 387034 w 1166813"/>
                  <a:gd name="connsiteY196" fmla="*/ 761775 h 766763"/>
                  <a:gd name="connsiteX197" fmla="*/ 384891 w 1166813"/>
                  <a:gd name="connsiteY197" fmla="*/ 762488 h 766763"/>
                  <a:gd name="connsiteX198" fmla="*/ 374894 w 1166813"/>
                  <a:gd name="connsiteY198" fmla="*/ 763913 h 766763"/>
                  <a:gd name="connsiteX199" fmla="*/ 373466 w 1166813"/>
                  <a:gd name="connsiteY199" fmla="*/ 764625 h 766763"/>
                  <a:gd name="connsiteX200" fmla="*/ 363469 w 1166813"/>
                  <a:gd name="connsiteY200" fmla="*/ 766051 h 766763"/>
                  <a:gd name="connsiteX201" fmla="*/ 361327 w 1166813"/>
                  <a:gd name="connsiteY201" fmla="*/ 766051 h 766763"/>
                  <a:gd name="connsiteX202" fmla="*/ 351329 w 1166813"/>
                  <a:gd name="connsiteY202" fmla="*/ 766763 h 766763"/>
                  <a:gd name="connsiteX203" fmla="*/ 349901 w 1166813"/>
                  <a:gd name="connsiteY203" fmla="*/ 766763 h 766763"/>
                  <a:gd name="connsiteX204" fmla="*/ 339190 w 1166813"/>
                  <a:gd name="connsiteY204" fmla="*/ 766763 h 766763"/>
                  <a:gd name="connsiteX205" fmla="*/ 328479 w 1166813"/>
                  <a:gd name="connsiteY205" fmla="*/ 766763 h 766763"/>
                  <a:gd name="connsiteX206" fmla="*/ 326337 w 1166813"/>
                  <a:gd name="connsiteY206" fmla="*/ 766763 h 766763"/>
                  <a:gd name="connsiteX207" fmla="*/ 315625 w 1166813"/>
                  <a:gd name="connsiteY207" fmla="*/ 766051 h 766763"/>
                  <a:gd name="connsiteX208" fmla="*/ 314197 w 1166813"/>
                  <a:gd name="connsiteY208" fmla="*/ 766051 h 766763"/>
                  <a:gd name="connsiteX209" fmla="*/ 304914 w 1166813"/>
                  <a:gd name="connsiteY209" fmla="*/ 764625 h 766763"/>
                  <a:gd name="connsiteX210" fmla="*/ 303486 w 1166813"/>
                  <a:gd name="connsiteY210" fmla="*/ 764625 h 766763"/>
                  <a:gd name="connsiteX211" fmla="*/ 293489 w 1166813"/>
                  <a:gd name="connsiteY211" fmla="*/ 762488 h 766763"/>
                  <a:gd name="connsiteX212" fmla="*/ 291346 w 1166813"/>
                  <a:gd name="connsiteY212" fmla="*/ 761775 h 766763"/>
                  <a:gd name="connsiteX213" fmla="*/ 281349 w 1166813"/>
                  <a:gd name="connsiteY213" fmla="*/ 759637 h 766763"/>
                  <a:gd name="connsiteX214" fmla="*/ 271352 w 1166813"/>
                  <a:gd name="connsiteY214" fmla="*/ 756787 h 766763"/>
                  <a:gd name="connsiteX215" fmla="*/ 269924 w 1166813"/>
                  <a:gd name="connsiteY215" fmla="*/ 756074 h 766763"/>
                  <a:gd name="connsiteX216" fmla="*/ 260641 w 1166813"/>
                  <a:gd name="connsiteY216" fmla="*/ 753224 h 766763"/>
                  <a:gd name="connsiteX217" fmla="*/ 259213 w 1166813"/>
                  <a:gd name="connsiteY217" fmla="*/ 752511 h 766763"/>
                  <a:gd name="connsiteX218" fmla="*/ 251358 w 1166813"/>
                  <a:gd name="connsiteY218" fmla="*/ 749661 h 766763"/>
                  <a:gd name="connsiteX219" fmla="*/ 249216 w 1166813"/>
                  <a:gd name="connsiteY219" fmla="*/ 748948 h 766763"/>
                  <a:gd name="connsiteX220" fmla="*/ 240646 w 1166813"/>
                  <a:gd name="connsiteY220" fmla="*/ 744672 h 766763"/>
                  <a:gd name="connsiteX221" fmla="*/ 238504 w 1166813"/>
                  <a:gd name="connsiteY221" fmla="*/ 743960 h 766763"/>
                  <a:gd name="connsiteX222" fmla="*/ 230649 w 1166813"/>
                  <a:gd name="connsiteY222" fmla="*/ 739684 h 766763"/>
                  <a:gd name="connsiteX223" fmla="*/ 229221 w 1166813"/>
                  <a:gd name="connsiteY223" fmla="*/ 738972 h 766763"/>
                  <a:gd name="connsiteX224" fmla="*/ 221366 w 1166813"/>
                  <a:gd name="connsiteY224" fmla="*/ 734696 h 766763"/>
                  <a:gd name="connsiteX225" fmla="*/ 218510 w 1166813"/>
                  <a:gd name="connsiteY225" fmla="*/ 733271 h 766763"/>
                  <a:gd name="connsiteX226" fmla="*/ 211369 w 1166813"/>
                  <a:gd name="connsiteY226" fmla="*/ 728282 h 766763"/>
                  <a:gd name="connsiteX227" fmla="*/ 209227 w 1166813"/>
                  <a:gd name="connsiteY227" fmla="*/ 726857 h 766763"/>
                  <a:gd name="connsiteX228" fmla="*/ 202800 w 1166813"/>
                  <a:gd name="connsiteY228" fmla="*/ 722582 h 766763"/>
                  <a:gd name="connsiteX229" fmla="*/ 200658 w 1166813"/>
                  <a:gd name="connsiteY229" fmla="*/ 720444 h 766763"/>
                  <a:gd name="connsiteX230" fmla="*/ 193517 w 1166813"/>
                  <a:gd name="connsiteY230" fmla="*/ 715456 h 766763"/>
                  <a:gd name="connsiteX231" fmla="*/ 191375 w 1166813"/>
                  <a:gd name="connsiteY231" fmla="*/ 713318 h 766763"/>
                  <a:gd name="connsiteX232" fmla="*/ 185662 w 1166813"/>
                  <a:gd name="connsiteY232" fmla="*/ 708330 h 766763"/>
                  <a:gd name="connsiteX233" fmla="*/ 184234 w 1166813"/>
                  <a:gd name="connsiteY233" fmla="*/ 706904 h 766763"/>
                  <a:gd name="connsiteX234" fmla="*/ 177807 w 1166813"/>
                  <a:gd name="connsiteY234" fmla="*/ 700491 h 766763"/>
                  <a:gd name="connsiteX235" fmla="*/ 174951 w 1166813"/>
                  <a:gd name="connsiteY235" fmla="*/ 698353 h 766763"/>
                  <a:gd name="connsiteX236" fmla="*/ 169238 w 1166813"/>
                  <a:gd name="connsiteY236" fmla="*/ 691940 h 766763"/>
                  <a:gd name="connsiteX237" fmla="*/ 167096 w 1166813"/>
                  <a:gd name="connsiteY237" fmla="*/ 689802 h 766763"/>
                  <a:gd name="connsiteX238" fmla="*/ 162811 w 1166813"/>
                  <a:gd name="connsiteY238" fmla="*/ 684814 h 766763"/>
                  <a:gd name="connsiteX239" fmla="*/ 160669 w 1166813"/>
                  <a:gd name="connsiteY239" fmla="*/ 682676 h 766763"/>
                  <a:gd name="connsiteX240" fmla="*/ 154956 w 1166813"/>
                  <a:gd name="connsiteY240" fmla="*/ 675550 h 766763"/>
                  <a:gd name="connsiteX241" fmla="*/ 153528 w 1166813"/>
                  <a:gd name="connsiteY241" fmla="*/ 672699 h 766763"/>
                  <a:gd name="connsiteX242" fmla="*/ 149244 w 1166813"/>
                  <a:gd name="connsiteY242" fmla="*/ 666998 h 766763"/>
                  <a:gd name="connsiteX243" fmla="*/ 147816 w 1166813"/>
                  <a:gd name="connsiteY243" fmla="*/ 664861 h 766763"/>
                  <a:gd name="connsiteX244" fmla="*/ 139247 w 1166813"/>
                  <a:gd name="connsiteY244" fmla="*/ 662010 h 766763"/>
                  <a:gd name="connsiteX245" fmla="*/ 135676 w 1166813"/>
                  <a:gd name="connsiteY245" fmla="*/ 660585 h 766763"/>
                  <a:gd name="connsiteX246" fmla="*/ 129964 w 1166813"/>
                  <a:gd name="connsiteY246" fmla="*/ 658447 h 766763"/>
                  <a:gd name="connsiteX247" fmla="*/ 127107 w 1166813"/>
                  <a:gd name="connsiteY247" fmla="*/ 657022 h 766763"/>
                  <a:gd name="connsiteX248" fmla="*/ 121394 w 1166813"/>
                  <a:gd name="connsiteY248" fmla="*/ 654884 h 766763"/>
                  <a:gd name="connsiteX249" fmla="*/ 117824 w 1166813"/>
                  <a:gd name="connsiteY249" fmla="*/ 653459 h 766763"/>
                  <a:gd name="connsiteX250" fmla="*/ 112111 w 1166813"/>
                  <a:gd name="connsiteY250" fmla="*/ 649896 h 766763"/>
                  <a:gd name="connsiteX251" fmla="*/ 109969 w 1166813"/>
                  <a:gd name="connsiteY251" fmla="*/ 649183 h 766763"/>
                  <a:gd name="connsiteX252" fmla="*/ 102114 w 1166813"/>
                  <a:gd name="connsiteY252" fmla="*/ 644195 h 766763"/>
                  <a:gd name="connsiteX253" fmla="*/ 99258 w 1166813"/>
                  <a:gd name="connsiteY253" fmla="*/ 642770 h 766763"/>
                  <a:gd name="connsiteX254" fmla="*/ 94259 w 1166813"/>
                  <a:gd name="connsiteY254" fmla="*/ 639207 h 766763"/>
                  <a:gd name="connsiteX255" fmla="*/ 91403 w 1166813"/>
                  <a:gd name="connsiteY255" fmla="*/ 637782 h 766763"/>
                  <a:gd name="connsiteX256" fmla="*/ 86404 w 1166813"/>
                  <a:gd name="connsiteY256" fmla="*/ 634219 h 766763"/>
                  <a:gd name="connsiteX257" fmla="*/ 83548 w 1166813"/>
                  <a:gd name="connsiteY257" fmla="*/ 632081 h 766763"/>
                  <a:gd name="connsiteX258" fmla="*/ 78549 w 1166813"/>
                  <a:gd name="connsiteY258" fmla="*/ 628518 h 766763"/>
                  <a:gd name="connsiteX259" fmla="*/ 76407 w 1166813"/>
                  <a:gd name="connsiteY259" fmla="*/ 626380 h 766763"/>
                  <a:gd name="connsiteX260" fmla="*/ 69266 w 1166813"/>
                  <a:gd name="connsiteY260" fmla="*/ 620679 h 766763"/>
                  <a:gd name="connsiteX261" fmla="*/ 67838 w 1166813"/>
                  <a:gd name="connsiteY261" fmla="*/ 619254 h 766763"/>
                  <a:gd name="connsiteX262" fmla="*/ 62126 w 1166813"/>
                  <a:gd name="connsiteY262" fmla="*/ 614266 h 766763"/>
                  <a:gd name="connsiteX263" fmla="*/ 59983 w 1166813"/>
                  <a:gd name="connsiteY263" fmla="*/ 612128 h 766763"/>
                  <a:gd name="connsiteX264" fmla="*/ 55699 w 1166813"/>
                  <a:gd name="connsiteY264" fmla="*/ 607140 h 766763"/>
                  <a:gd name="connsiteX265" fmla="*/ 53557 w 1166813"/>
                  <a:gd name="connsiteY265" fmla="*/ 605002 h 766763"/>
                  <a:gd name="connsiteX266" fmla="*/ 49272 w 1166813"/>
                  <a:gd name="connsiteY266" fmla="*/ 600014 h 766763"/>
                  <a:gd name="connsiteX267" fmla="*/ 47844 w 1166813"/>
                  <a:gd name="connsiteY267" fmla="*/ 597876 h 766763"/>
                  <a:gd name="connsiteX268" fmla="*/ 42131 w 1166813"/>
                  <a:gd name="connsiteY268" fmla="*/ 590750 h 766763"/>
                  <a:gd name="connsiteX269" fmla="*/ 41417 w 1166813"/>
                  <a:gd name="connsiteY269" fmla="*/ 590750 h 766763"/>
                  <a:gd name="connsiteX270" fmla="*/ 36419 w 1166813"/>
                  <a:gd name="connsiteY270" fmla="*/ 582911 h 766763"/>
                  <a:gd name="connsiteX271" fmla="*/ 34990 w 1166813"/>
                  <a:gd name="connsiteY271" fmla="*/ 580773 h 766763"/>
                  <a:gd name="connsiteX272" fmla="*/ 31420 w 1166813"/>
                  <a:gd name="connsiteY272" fmla="*/ 575072 h 766763"/>
                  <a:gd name="connsiteX273" fmla="*/ 29278 w 1166813"/>
                  <a:gd name="connsiteY273" fmla="*/ 572222 h 766763"/>
                  <a:gd name="connsiteX274" fmla="*/ 26421 w 1166813"/>
                  <a:gd name="connsiteY274" fmla="*/ 567234 h 766763"/>
                  <a:gd name="connsiteX275" fmla="*/ 24993 w 1166813"/>
                  <a:gd name="connsiteY275" fmla="*/ 564383 h 766763"/>
                  <a:gd name="connsiteX276" fmla="*/ 21423 w 1166813"/>
                  <a:gd name="connsiteY276" fmla="*/ 557970 h 766763"/>
                  <a:gd name="connsiteX277" fmla="*/ 20709 w 1166813"/>
                  <a:gd name="connsiteY277" fmla="*/ 555832 h 766763"/>
                  <a:gd name="connsiteX278" fmla="*/ 16424 w 1166813"/>
                  <a:gd name="connsiteY278" fmla="*/ 547281 h 766763"/>
                  <a:gd name="connsiteX279" fmla="*/ 15710 w 1166813"/>
                  <a:gd name="connsiteY279" fmla="*/ 545143 h 766763"/>
                  <a:gd name="connsiteX280" fmla="*/ 13568 w 1166813"/>
                  <a:gd name="connsiteY280" fmla="*/ 538730 h 766763"/>
                  <a:gd name="connsiteX281" fmla="*/ 12140 w 1166813"/>
                  <a:gd name="connsiteY281" fmla="*/ 535879 h 766763"/>
                  <a:gd name="connsiteX282" fmla="*/ 9997 w 1166813"/>
                  <a:gd name="connsiteY282" fmla="*/ 530178 h 766763"/>
                  <a:gd name="connsiteX283" fmla="*/ 9283 w 1166813"/>
                  <a:gd name="connsiteY283" fmla="*/ 526615 h 766763"/>
                  <a:gd name="connsiteX284" fmla="*/ 7141 w 1166813"/>
                  <a:gd name="connsiteY284" fmla="*/ 520202 h 766763"/>
                  <a:gd name="connsiteX285" fmla="*/ 6427 w 1166813"/>
                  <a:gd name="connsiteY285" fmla="*/ 517351 h 766763"/>
                  <a:gd name="connsiteX286" fmla="*/ 4285 w 1166813"/>
                  <a:gd name="connsiteY286" fmla="*/ 508088 h 766763"/>
                  <a:gd name="connsiteX287" fmla="*/ 4285 w 1166813"/>
                  <a:gd name="connsiteY287" fmla="*/ 506662 h 766763"/>
                  <a:gd name="connsiteX288" fmla="*/ 2857 w 1166813"/>
                  <a:gd name="connsiteY288" fmla="*/ 498824 h 766763"/>
                  <a:gd name="connsiteX289" fmla="*/ 2143 w 1166813"/>
                  <a:gd name="connsiteY289" fmla="*/ 495261 h 766763"/>
                  <a:gd name="connsiteX290" fmla="*/ 1428 w 1166813"/>
                  <a:gd name="connsiteY290" fmla="*/ 488847 h 766763"/>
                  <a:gd name="connsiteX291" fmla="*/ 714 w 1166813"/>
                  <a:gd name="connsiteY291" fmla="*/ 485284 h 766763"/>
                  <a:gd name="connsiteX292" fmla="*/ 714 w 1166813"/>
                  <a:gd name="connsiteY292" fmla="*/ 478871 h 766763"/>
                  <a:gd name="connsiteX293" fmla="*/ 0 w 1166813"/>
                  <a:gd name="connsiteY293" fmla="*/ 476020 h 766763"/>
                  <a:gd name="connsiteX294" fmla="*/ 0 w 1166813"/>
                  <a:gd name="connsiteY294" fmla="*/ 466044 h 766763"/>
                  <a:gd name="connsiteX295" fmla="*/ 179949 w 1166813"/>
                  <a:gd name="connsiteY295" fmla="*/ 260101 h 766763"/>
                  <a:gd name="connsiteX296" fmla="*/ 179235 w 1166813"/>
                  <a:gd name="connsiteY296" fmla="*/ 235872 h 766763"/>
                  <a:gd name="connsiteX297" fmla="*/ 417739 w 1166813"/>
                  <a:gd name="connsiteY297" fmla="*/ 0 h 7667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</a:cxnLst>
                <a:rect l="l" t="t" r="r" b="b"/>
                <a:pathLst>
                  <a:path w="1166813" h="766763">
                    <a:moveTo>
                      <a:pt x="822458" y="412750"/>
                    </a:moveTo>
                    <a:cubicBezTo>
                      <a:pt x="813143" y="412750"/>
                      <a:pt x="804544" y="414872"/>
                      <a:pt x="796661" y="419822"/>
                    </a:cubicBezTo>
                    <a:cubicBezTo>
                      <a:pt x="788779" y="424772"/>
                      <a:pt x="783046" y="430429"/>
                      <a:pt x="779463" y="438208"/>
                    </a:cubicBezTo>
                    <a:cubicBezTo>
                      <a:pt x="779463" y="438208"/>
                      <a:pt x="779463" y="438208"/>
                      <a:pt x="798094" y="452351"/>
                    </a:cubicBezTo>
                    <a:cubicBezTo>
                      <a:pt x="804544" y="441036"/>
                      <a:pt x="813143" y="435379"/>
                      <a:pt x="823891" y="435379"/>
                    </a:cubicBezTo>
                    <a:cubicBezTo>
                      <a:pt x="838223" y="435379"/>
                      <a:pt x="844672" y="441036"/>
                      <a:pt x="844672" y="453058"/>
                    </a:cubicBezTo>
                    <a:cubicBezTo>
                      <a:pt x="844672" y="462958"/>
                      <a:pt x="840373" y="474980"/>
                      <a:pt x="830341" y="489123"/>
                    </a:cubicBezTo>
                    <a:cubicBezTo>
                      <a:pt x="830341" y="489123"/>
                      <a:pt x="830341" y="489123"/>
                      <a:pt x="780896" y="560546"/>
                    </a:cubicBezTo>
                    <a:cubicBezTo>
                      <a:pt x="780896" y="560546"/>
                      <a:pt x="780896" y="560546"/>
                      <a:pt x="780896" y="568325"/>
                    </a:cubicBezTo>
                    <a:cubicBezTo>
                      <a:pt x="780896" y="568325"/>
                      <a:pt x="780896" y="568325"/>
                      <a:pt x="882651" y="568325"/>
                    </a:cubicBezTo>
                    <a:cubicBezTo>
                      <a:pt x="882651" y="568325"/>
                      <a:pt x="882651" y="568325"/>
                      <a:pt x="882651" y="544282"/>
                    </a:cubicBezTo>
                    <a:cubicBezTo>
                      <a:pt x="882651" y="544282"/>
                      <a:pt x="882651" y="544282"/>
                      <a:pt x="824608" y="544282"/>
                    </a:cubicBezTo>
                    <a:cubicBezTo>
                      <a:pt x="824608" y="544282"/>
                      <a:pt x="824608" y="544282"/>
                      <a:pt x="856138" y="496195"/>
                    </a:cubicBezTo>
                    <a:cubicBezTo>
                      <a:pt x="867603" y="479223"/>
                      <a:pt x="873336" y="464373"/>
                      <a:pt x="873336" y="453058"/>
                    </a:cubicBezTo>
                    <a:cubicBezTo>
                      <a:pt x="873336" y="440329"/>
                      <a:pt x="869036" y="430429"/>
                      <a:pt x="860437" y="423358"/>
                    </a:cubicBezTo>
                    <a:cubicBezTo>
                      <a:pt x="851122" y="416286"/>
                      <a:pt x="838940" y="412750"/>
                      <a:pt x="822458" y="412750"/>
                    </a:cubicBezTo>
                    <a:close/>
                    <a:moveTo>
                      <a:pt x="631630" y="295275"/>
                    </a:moveTo>
                    <a:cubicBezTo>
                      <a:pt x="677269" y="295275"/>
                      <a:pt x="700088" y="325955"/>
                      <a:pt x="700088" y="388741"/>
                    </a:cubicBezTo>
                    <a:cubicBezTo>
                      <a:pt x="700088" y="420135"/>
                      <a:pt x="694383" y="444393"/>
                      <a:pt x="681548" y="460803"/>
                    </a:cubicBezTo>
                    <a:cubicBezTo>
                      <a:pt x="669425" y="477927"/>
                      <a:pt x="651597" y="485775"/>
                      <a:pt x="628065" y="485775"/>
                    </a:cubicBezTo>
                    <a:cubicBezTo>
                      <a:pt x="608098" y="485775"/>
                      <a:pt x="592410" y="477927"/>
                      <a:pt x="582426" y="460803"/>
                    </a:cubicBezTo>
                    <a:cubicBezTo>
                      <a:pt x="572443" y="443680"/>
                      <a:pt x="566738" y="419421"/>
                      <a:pt x="566738" y="388741"/>
                    </a:cubicBezTo>
                    <a:cubicBezTo>
                      <a:pt x="566738" y="360202"/>
                      <a:pt x="572443" y="337371"/>
                      <a:pt x="583140" y="320247"/>
                    </a:cubicBezTo>
                    <a:cubicBezTo>
                      <a:pt x="594549" y="303837"/>
                      <a:pt x="610237" y="295275"/>
                      <a:pt x="631630" y="295275"/>
                    </a:cubicBezTo>
                    <a:close/>
                    <a:moveTo>
                      <a:pt x="631630" y="252413"/>
                    </a:moveTo>
                    <a:cubicBezTo>
                      <a:pt x="596685" y="252413"/>
                      <a:pt x="568872" y="265253"/>
                      <a:pt x="548191" y="291647"/>
                    </a:cubicBezTo>
                    <a:cubicBezTo>
                      <a:pt x="527509" y="318041"/>
                      <a:pt x="517525" y="350141"/>
                      <a:pt x="517525" y="387949"/>
                    </a:cubicBezTo>
                    <a:cubicBezTo>
                      <a:pt x="517525" y="430749"/>
                      <a:pt x="526796" y="464990"/>
                      <a:pt x="546051" y="489957"/>
                    </a:cubicBezTo>
                    <a:cubicBezTo>
                      <a:pt x="564593" y="514924"/>
                      <a:pt x="592406" y="527051"/>
                      <a:pt x="628064" y="527051"/>
                    </a:cubicBezTo>
                    <a:cubicBezTo>
                      <a:pt x="666574" y="527051"/>
                      <a:pt x="696527" y="514924"/>
                      <a:pt x="717921" y="489244"/>
                    </a:cubicBezTo>
                    <a:cubicBezTo>
                      <a:pt x="738603" y="464277"/>
                      <a:pt x="749300" y="430749"/>
                      <a:pt x="749300" y="387949"/>
                    </a:cubicBezTo>
                    <a:cubicBezTo>
                      <a:pt x="749300" y="345148"/>
                      <a:pt x="739316" y="311621"/>
                      <a:pt x="718635" y="288080"/>
                    </a:cubicBezTo>
                    <a:cubicBezTo>
                      <a:pt x="698666" y="264540"/>
                      <a:pt x="669427" y="252413"/>
                      <a:pt x="631630" y="252413"/>
                    </a:cubicBezTo>
                    <a:close/>
                    <a:moveTo>
                      <a:pt x="412336" y="252413"/>
                    </a:moveTo>
                    <a:cubicBezTo>
                      <a:pt x="376715" y="252413"/>
                      <a:pt x="347506" y="265967"/>
                      <a:pt x="324709" y="292360"/>
                    </a:cubicBezTo>
                    <a:cubicBezTo>
                      <a:pt x="301912" y="318754"/>
                      <a:pt x="290513" y="351568"/>
                      <a:pt x="290513" y="390802"/>
                    </a:cubicBezTo>
                    <a:cubicBezTo>
                      <a:pt x="290513" y="432890"/>
                      <a:pt x="301199" y="466417"/>
                      <a:pt x="321859" y="490671"/>
                    </a:cubicBezTo>
                    <a:cubicBezTo>
                      <a:pt x="341807" y="514924"/>
                      <a:pt x="371016" y="527051"/>
                      <a:pt x="408061" y="527051"/>
                    </a:cubicBezTo>
                    <a:cubicBezTo>
                      <a:pt x="445107" y="527051"/>
                      <a:pt x="472891" y="517064"/>
                      <a:pt x="492126" y="496377"/>
                    </a:cubicBezTo>
                    <a:cubicBezTo>
                      <a:pt x="492126" y="496377"/>
                      <a:pt x="492126" y="496377"/>
                      <a:pt x="470041" y="458570"/>
                    </a:cubicBezTo>
                    <a:cubicBezTo>
                      <a:pt x="456506" y="476404"/>
                      <a:pt x="436558" y="484964"/>
                      <a:pt x="411624" y="484964"/>
                    </a:cubicBezTo>
                    <a:cubicBezTo>
                      <a:pt x="389539" y="484964"/>
                      <a:pt x="372441" y="477117"/>
                      <a:pt x="359617" y="459997"/>
                    </a:cubicBezTo>
                    <a:cubicBezTo>
                      <a:pt x="346081" y="443590"/>
                      <a:pt x="339670" y="420763"/>
                      <a:pt x="339670" y="392942"/>
                    </a:cubicBezTo>
                    <a:cubicBezTo>
                      <a:pt x="339670" y="364408"/>
                      <a:pt x="346794" y="340868"/>
                      <a:pt x="361042" y="322321"/>
                    </a:cubicBezTo>
                    <a:cubicBezTo>
                      <a:pt x="375290" y="303774"/>
                      <a:pt x="393101" y="294501"/>
                      <a:pt x="415186" y="294501"/>
                    </a:cubicBezTo>
                    <a:cubicBezTo>
                      <a:pt x="438695" y="294501"/>
                      <a:pt x="455081" y="299494"/>
                      <a:pt x="465767" y="310194"/>
                    </a:cubicBezTo>
                    <a:cubicBezTo>
                      <a:pt x="465767" y="310194"/>
                      <a:pt x="465767" y="310194"/>
                      <a:pt x="485002" y="271673"/>
                    </a:cubicBezTo>
                    <a:cubicBezTo>
                      <a:pt x="467192" y="258833"/>
                      <a:pt x="442970" y="252413"/>
                      <a:pt x="412336" y="252413"/>
                    </a:cubicBezTo>
                    <a:close/>
                    <a:moveTo>
                      <a:pt x="417739" y="0"/>
                    </a:moveTo>
                    <a:cubicBezTo>
                      <a:pt x="500573" y="0"/>
                      <a:pt x="573410" y="41331"/>
                      <a:pt x="616255" y="104040"/>
                    </a:cubicBezTo>
                    <a:cubicBezTo>
                      <a:pt x="643390" y="86938"/>
                      <a:pt x="675524" y="76961"/>
                      <a:pt x="709800" y="76961"/>
                    </a:cubicBezTo>
                    <a:cubicBezTo>
                      <a:pt x="805487" y="76961"/>
                      <a:pt x="882608" y="153923"/>
                      <a:pt x="884036" y="248699"/>
                    </a:cubicBezTo>
                    <a:cubicBezTo>
                      <a:pt x="884750" y="248699"/>
                      <a:pt x="884750" y="248699"/>
                      <a:pt x="885464" y="248699"/>
                    </a:cubicBezTo>
                    <a:cubicBezTo>
                      <a:pt x="886892" y="248699"/>
                      <a:pt x="889035" y="248699"/>
                      <a:pt x="891177" y="248699"/>
                    </a:cubicBezTo>
                    <a:cubicBezTo>
                      <a:pt x="950446" y="250837"/>
                      <a:pt x="1001860" y="285755"/>
                      <a:pt x="1026853" y="336350"/>
                    </a:cubicBezTo>
                    <a:cubicBezTo>
                      <a:pt x="1041849" y="339200"/>
                      <a:pt x="1055416" y="343476"/>
                      <a:pt x="1068984" y="349889"/>
                    </a:cubicBezTo>
                    <a:cubicBezTo>
                      <a:pt x="1068984" y="349889"/>
                      <a:pt x="1068984" y="349889"/>
                      <a:pt x="1069698" y="349889"/>
                    </a:cubicBezTo>
                    <a:cubicBezTo>
                      <a:pt x="1073268" y="352027"/>
                      <a:pt x="1077553" y="354165"/>
                      <a:pt x="1081123" y="356303"/>
                    </a:cubicBezTo>
                    <a:cubicBezTo>
                      <a:pt x="1081837" y="357015"/>
                      <a:pt x="1082551" y="357015"/>
                      <a:pt x="1083265" y="357728"/>
                    </a:cubicBezTo>
                    <a:cubicBezTo>
                      <a:pt x="1088264" y="360578"/>
                      <a:pt x="1092548" y="363429"/>
                      <a:pt x="1096833" y="366279"/>
                    </a:cubicBezTo>
                    <a:cubicBezTo>
                      <a:pt x="1100403" y="369130"/>
                      <a:pt x="1103974" y="371980"/>
                      <a:pt x="1107544" y="374830"/>
                    </a:cubicBezTo>
                    <a:cubicBezTo>
                      <a:pt x="1109686" y="376968"/>
                      <a:pt x="1111829" y="379106"/>
                      <a:pt x="1113971" y="381244"/>
                    </a:cubicBezTo>
                    <a:cubicBezTo>
                      <a:pt x="1119684" y="386232"/>
                      <a:pt x="1125396" y="392646"/>
                      <a:pt x="1130395" y="398346"/>
                    </a:cubicBezTo>
                    <a:cubicBezTo>
                      <a:pt x="1136108" y="405472"/>
                      <a:pt x="1141106" y="413311"/>
                      <a:pt x="1145391" y="421150"/>
                    </a:cubicBezTo>
                    <a:cubicBezTo>
                      <a:pt x="1153246" y="434689"/>
                      <a:pt x="1158958" y="449654"/>
                      <a:pt x="1162529" y="466044"/>
                    </a:cubicBezTo>
                    <a:cubicBezTo>
                      <a:pt x="1165385" y="478158"/>
                      <a:pt x="1166813" y="490272"/>
                      <a:pt x="1166813" y="503812"/>
                    </a:cubicBezTo>
                    <a:cubicBezTo>
                      <a:pt x="1166813" y="506662"/>
                      <a:pt x="1166813" y="509513"/>
                      <a:pt x="1166813" y="512363"/>
                    </a:cubicBezTo>
                    <a:cubicBezTo>
                      <a:pt x="1166099" y="520914"/>
                      <a:pt x="1165385" y="529466"/>
                      <a:pt x="1163243" y="538017"/>
                    </a:cubicBezTo>
                    <a:cubicBezTo>
                      <a:pt x="1162529" y="540867"/>
                      <a:pt x="1161815" y="543718"/>
                      <a:pt x="1161101" y="546568"/>
                    </a:cubicBezTo>
                    <a:cubicBezTo>
                      <a:pt x="1142534" y="619967"/>
                      <a:pt x="1074696" y="674125"/>
                      <a:pt x="994005" y="674125"/>
                    </a:cubicBezTo>
                    <a:cubicBezTo>
                      <a:pt x="986864" y="674125"/>
                      <a:pt x="976153" y="674125"/>
                      <a:pt x="961871" y="674125"/>
                    </a:cubicBezTo>
                    <a:cubicBezTo>
                      <a:pt x="961871" y="674837"/>
                      <a:pt x="961157" y="674837"/>
                      <a:pt x="961157" y="674837"/>
                    </a:cubicBezTo>
                    <a:cubicBezTo>
                      <a:pt x="959729" y="676262"/>
                      <a:pt x="957587" y="677688"/>
                      <a:pt x="956158" y="679113"/>
                    </a:cubicBezTo>
                    <a:cubicBezTo>
                      <a:pt x="955444" y="679825"/>
                      <a:pt x="954730" y="680538"/>
                      <a:pt x="954016" y="681251"/>
                    </a:cubicBezTo>
                    <a:cubicBezTo>
                      <a:pt x="952588" y="681963"/>
                      <a:pt x="951160" y="682676"/>
                      <a:pt x="950446" y="684101"/>
                    </a:cubicBezTo>
                    <a:cubicBezTo>
                      <a:pt x="949018" y="684814"/>
                      <a:pt x="948304" y="685526"/>
                      <a:pt x="947589" y="685526"/>
                    </a:cubicBezTo>
                    <a:cubicBezTo>
                      <a:pt x="946161" y="686951"/>
                      <a:pt x="945447" y="687664"/>
                      <a:pt x="944019" y="688377"/>
                    </a:cubicBezTo>
                    <a:cubicBezTo>
                      <a:pt x="943305" y="689089"/>
                      <a:pt x="941877" y="689802"/>
                      <a:pt x="941163" y="690514"/>
                    </a:cubicBezTo>
                    <a:cubicBezTo>
                      <a:pt x="939735" y="691227"/>
                      <a:pt x="939020" y="691940"/>
                      <a:pt x="937592" y="692652"/>
                    </a:cubicBezTo>
                    <a:cubicBezTo>
                      <a:pt x="936878" y="693365"/>
                      <a:pt x="935450" y="693365"/>
                      <a:pt x="934736" y="694077"/>
                    </a:cubicBezTo>
                    <a:cubicBezTo>
                      <a:pt x="933308" y="694790"/>
                      <a:pt x="932594" y="695503"/>
                      <a:pt x="931166" y="696215"/>
                    </a:cubicBezTo>
                    <a:cubicBezTo>
                      <a:pt x="929737" y="696928"/>
                      <a:pt x="929023" y="697640"/>
                      <a:pt x="928309" y="697640"/>
                    </a:cubicBezTo>
                    <a:cubicBezTo>
                      <a:pt x="926881" y="698353"/>
                      <a:pt x="925453" y="699066"/>
                      <a:pt x="924025" y="699778"/>
                    </a:cubicBezTo>
                    <a:cubicBezTo>
                      <a:pt x="923311" y="700491"/>
                      <a:pt x="921882" y="701203"/>
                      <a:pt x="921168" y="701203"/>
                    </a:cubicBezTo>
                    <a:cubicBezTo>
                      <a:pt x="919740" y="701916"/>
                      <a:pt x="918312" y="702629"/>
                      <a:pt x="917598" y="703341"/>
                    </a:cubicBezTo>
                    <a:cubicBezTo>
                      <a:pt x="916170" y="703341"/>
                      <a:pt x="915456" y="704054"/>
                      <a:pt x="914028" y="704767"/>
                    </a:cubicBezTo>
                    <a:cubicBezTo>
                      <a:pt x="912599" y="704767"/>
                      <a:pt x="911171" y="705479"/>
                      <a:pt x="910457" y="706192"/>
                    </a:cubicBezTo>
                    <a:cubicBezTo>
                      <a:pt x="909029" y="706192"/>
                      <a:pt x="908315" y="706904"/>
                      <a:pt x="906887" y="706904"/>
                    </a:cubicBezTo>
                    <a:cubicBezTo>
                      <a:pt x="905459" y="707617"/>
                      <a:pt x="904030" y="708330"/>
                      <a:pt x="902602" y="708330"/>
                    </a:cubicBezTo>
                    <a:cubicBezTo>
                      <a:pt x="901888" y="709042"/>
                      <a:pt x="900460" y="709042"/>
                      <a:pt x="899746" y="709755"/>
                    </a:cubicBezTo>
                    <a:cubicBezTo>
                      <a:pt x="898318" y="709755"/>
                      <a:pt x="896890" y="710467"/>
                      <a:pt x="896175" y="710467"/>
                    </a:cubicBezTo>
                    <a:cubicBezTo>
                      <a:pt x="894747" y="711180"/>
                      <a:pt x="894033" y="711180"/>
                      <a:pt x="892605" y="711893"/>
                    </a:cubicBezTo>
                    <a:cubicBezTo>
                      <a:pt x="891177" y="711893"/>
                      <a:pt x="889749" y="712605"/>
                      <a:pt x="888321" y="712605"/>
                    </a:cubicBezTo>
                    <a:cubicBezTo>
                      <a:pt x="887606" y="712605"/>
                      <a:pt x="886178" y="713318"/>
                      <a:pt x="885464" y="713318"/>
                    </a:cubicBezTo>
                    <a:cubicBezTo>
                      <a:pt x="883322" y="713318"/>
                      <a:pt x="881894" y="714030"/>
                      <a:pt x="880466" y="714030"/>
                    </a:cubicBezTo>
                    <a:cubicBezTo>
                      <a:pt x="879752" y="714030"/>
                      <a:pt x="878323" y="714743"/>
                      <a:pt x="877609" y="714743"/>
                    </a:cubicBezTo>
                    <a:cubicBezTo>
                      <a:pt x="875467" y="714743"/>
                      <a:pt x="874039" y="715456"/>
                      <a:pt x="872611" y="715456"/>
                    </a:cubicBezTo>
                    <a:cubicBezTo>
                      <a:pt x="871897" y="715456"/>
                      <a:pt x="870468" y="715456"/>
                      <a:pt x="869754" y="715456"/>
                    </a:cubicBezTo>
                    <a:cubicBezTo>
                      <a:pt x="867612" y="716168"/>
                      <a:pt x="866184" y="716168"/>
                      <a:pt x="864042" y="716168"/>
                    </a:cubicBezTo>
                    <a:cubicBezTo>
                      <a:pt x="863328" y="716168"/>
                      <a:pt x="862614" y="716168"/>
                      <a:pt x="861185" y="716168"/>
                    </a:cubicBezTo>
                    <a:cubicBezTo>
                      <a:pt x="859043" y="716168"/>
                      <a:pt x="856187" y="716168"/>
                      <a:pt x="854044" y="716168"/>
                    </a:cubicBezTo>
                    <a:cubicBezTo>
                      <a:pt x="853330" y="716168"/>
                      <a:pt x="853330" y="716168"/>
                      <a:pt x="853330" y="716168"/>
                    </a:cubicBezTo>
                    <a:cubicBezTo>
                      <a:pt x="850474" y="716168"/>
                      <a:pt x="848332" y="716168"/>
                      <a:pt x="846190" y="716168"/>
                    </a:cubicBezTo>
                    <a:cubicBezTo>
                      <a:pt x="845475" y="716168"/>
                      <a:pt x="844047" y="716168"/>
                      <a:pt x="843333" y="716168"/>
                    </a:cubicBezTo>
                    <a:cubicBezTo>
                      <a:pt x="841905" y="716168"/>
                      <a:pt x="839763" y="716168"/>
                      <a:pt x="838335" y="715456"/>
                    </a:cubicBezTo>
                    <a:cubicBezTo>
                      <a:pt x="837621" y="715456"/>
                      <a:pt x="836906" y="715456"/>
                      <a:pt x="836192" y="715456"/>
                    </a:cubicBezTo>
                    <a:cubicBezTo>
                      <a:pt x="833336" y="715456"/>
                      <a:pt x="831194" y="714743"/>
                      <a:pt x="829052" y="714743"/>
                    </a:cubicBezTo>
                    <a:cubicBezTo>
                      <a:pt x="828337" y="714743"/>
                      <a:pt x="827623" y="714743"/>
                      <a:pt x="827623" y="714743"/>
                    </a:cubicBezTo>
                    <a:cubicBezTo>
                      <a:pt x="825481" y="714030"/>
                      <a:pt x="823339" y="714030"/>
                      <a:pt x="821911" y="713318"/>
                    </a:cubicBezTo>
                    <a:cubicBezTo>
                      <a:pt x="821197" y="713318"/>
                      <a:pt x="819768" y="713318"/>
                      <a:pt x="819054" y="712605"/>
                    </a:cubicBezTo>
                    <a:cubicBezTo>
                      <a:pt x="817626" y="712605"/>
                      <a:pt x="816198" y="711893"/>
                      <a:pt x="814770" y="711893"/>
                    </a:cubicBezTo>
                    <a:cubicBezTo>
                      <a:pt x="814056" y="711893"/>
                      <a:pt x="812628" y="711180"/>
                      <a:pt x="811914" y="711180"/>
                    </a:cubicBezTo>
                    <a:cubicBezTo>
                      <a:pt x="809771" y="710467"/>
                      <a:pt x="807629" y="709755"/>
                      <a:pt x="805487" y="709042"/>
                    </a:cubicBezTo>
                    <a:cubicBezTo>
                      <a:pt x="804773" y="709042"/>
                      <a:pt x="804059" y="709042"/>
                      <a:pt x="802630" y="708330"/>
                    </a:cubicBezTo>
                    <a:cubicBezTo>
                      <a:pt x="801916" y="708330"/>
                      <a:pt x="800488" y="707617"/>
                      <a:pt x="799060" y="706904"/>
                    </a:cubicBezTo>
                    <a:cubicBezTo>
                      <a:pt x="797632" y="706904"/>
                      <a:pt x="796918" y="706192"/>
                      <a:pt x="795490" y="706192"/>
                    </a:cubicBezTo>
                    <a:cubicBezTo>
                      <a:pt x="794776" y="705479"/>
                      <a:pt x="793347" y="704767"/>
                      <a:pt x="792633" y="704767"/>
                    </a:cubicBezTo>
                    <a:cubicBezTo>
                      <a:pt x="791205" y="704054"/>
                      <a:pt x="790491" y="704054"/>
                      <a:pt x="789063" y="703341"/>
                    </a:cubicBezTo>
                    <a:cubicBezTo>
                      <a:pt x="787635" y="702629"/>
                      <a:pt x="786207" y="701916"/>
                      <a:pt x="784778" y="701203"/>
                    </a:cubicBezTo>
                    <a:cubicBezTo>
                      <a:pt x="783350" y="700491"/>
                      <a:pt x="781922" y="699778"/>
                      <a:pt x="780494" y="699066"/>
                    </a:cubicBezTo>
                    <a:cubicBezTo>
                      <a:pt x="779780" y="699066"/>
                      <a:pt x="778352" y="698353"/>
                      <a:pt x="777638" y="697640"/>
                    </a:cubicBezTo>
                    <a:cubicBezTo>
                      <a:pt x="776923" y="696928"/>
                      <a:pt x="775495" y="696215"/>
                      <a:pt x="774067" y="696215"/>
                    </a:cubicBezTo>
                    <a:cubicBezTo>
                      <a:pt x="773353" y="695503"/>
                      <a:pt x="772639" y="694790"/>
                      <a:pt x="771925" y="694790"/>
                    </a:cubicBezTo>
                    <a:cubicBezTo>
                      <a:pt x="769069" y="692652"/>
                      <a:pt x="766212" y="691227"/>
                      <a:pt x="763356" y="689089"/>
                    </a:cubicBezTo>
                    <a:cubicBezTo>
                      <a:pt x="761928" y="691227"/>
                      <a:pt x="759785" y="692652"/>
                      <a:pt x="757643" y="694790"/>
                    </a:cubicBezTo>
                    <a:cubicBezTo>
                      <a:pt x="755501" y="696928"/>
                      <a:pt x="753359" y="698353"/>
                      <a:pt x="751216" y="699778"/>
                    </a:cubicBezTo>
                    <a:cubicBezTo>
                      <a:pt x="751216" y="699778"/>
                      <a:pt x="751216" y="700491"/>
                      <a:pt x="750502" y="700491"/>
                    </a:cubicBezTo>
                    <a:cubicBezTo>
                      <a:pt x="749074" y="701916"/>
                      <a:pt x="746932" y="703341"/>
                      <a:pt x="744790" y="704767"/>
                    </a:cubicBezTo>
                    <a:cubicBezTo>
                      <a:pt x="744790" y="704767"/>
                      <a:pt x="744076" y="704767"/>
                      <a:pt x="744076" y="705479"/>
                    </a:cubicBezTo>
                    <a:cubicBezTo>
                      <a:pt x="741933" y="706904"/>
                      <a:pt x="739791" y="707617"/>
                      <a:pt x="738363" y="709042"/>
                    </a:cubicBezTo>
                    <a:cubicBezTo>
                      <a:pt x="737649" y="709755"/>
                      <a:pt x="736935" y="709755"/>
                      <a:pt x="736935" y="709755"/>
                    </a:cubicBezTo>
                    <a:cubicBezTo>
                      <a:pt x="734792" y="711180"/>
                      <a:pt x="733364" y="712605"/>
                      <a:pt x="731222" y="713318"/>
                    </a:cubicBezTo>
                    <a:cubicBezTo>
                      <a:pt x="730508" y="714030"/>
                      <a:pt x="729794" y="714030"/>
                      <a:pt x="729080" y="714743"/>
                    </a:cubicBezTo>
                    <a:cubicBezTo>
                      <a:pt x="727652" y="715456"/>
                      <a:pt x="725509" y="716168"/>
                      <a:pt x="724081" y="717593"/>
                    </a:cubicBezTo>
                    <a:cubicBezTo>
                      <a:pt x="723367" y="717593"/>
                      <a:pt x="722653" y="718306"/>
                      <a:pt x="721939" y="718306"/>
                    </a:cubicBezTo>
                    <a:cubicBezTo>
                      <a:pt x="719797" y="719731"/>
                      <a:pt x="718369" y="720444"/>
                      <a:pt x="716226" y="721156"/>
                    </a:cubicBezTo>
                    <a:cubicBezTo>
                      <a:pt x="715512" y="721869"/>
                      <a:pt x="714798" y="721869"/>
                      <a:pt x="714084" y="722582"/>
                    </a:cubicBezTo>
                    <a:cubicBezTo>
                      <a:pt x="711942" y="723294"/>
                      <a:pt x="710514" y="724007"/>
                      <a:pt x="708371" y="724719"/>
                    </a:cubicBezTo>
                    <a:cubicBezTo>
                      <a:pt x="707657" y="724719"/>
                      <a:pt x="706943" y="725432"/>
                      <a:pt x="706229" y="725432"/>
                    </a:cubicBezTo>
                    <a:cubicBezTo>
                      <a:pt x="704087" y="726145"/>
                      <a:pt x="702659" y="726857"/>
                      <a:pt x="700516" y="727570"/>
                    </a:cubicBezTo>
                    <a:cubicBezTo>
                      <a:pt x="699802" y="727570"/>
                      <a:pt x="698374" y="728282"/>
                      <a:pt x="697660" y="728282"/>
                    </a:cubicBezTo>
                    <a:cubicBezTo>
                      <a:pt x="696232" y="728995"/>
                      <a:pt x="694090" y="729708"/>
                      <a:pt x="692662" y="730420"/>
                    </a:cubicBezTo>
                    <a:cubicBezTo>
                      <a:pt x="691233" y="730420"/>
                      <a:pt x="690519" y="731133"/>
                      <a:pt x="689091" y="731133"/>
                    </a:cubicBezTo>
                    <a:cubicBezTo>
                      <a:pt x="687663" y="731846"/>
                      <a:pt x="686235" y="731846"/>
                      <a:pt x="684093" y="732558"/>
                    </a:cubicBezTo>
                    <a:cubicBezTo>
                      <a:pt x="683378" y="732558"/>
                      <a:pt x="681950" y="733271"/>
                      <a:pt x="680522" y="733271"/>
                    </a:cubicBezTo>
                    <a:cubicBezTo>
                      <a:pt x="679094" y="733983"/>
                      <a:pt x="677666" y="733983"/>
                      <a:pt x="675524" y="734696"/>
                    </a:cubicBezTo>
                    <a:cubicBezTo>
                      <a:pt x="674095" y="734696"/>
                      <a:pt x="672667" y="734696"/>
                      <a:pt x="671239" y="735409"/>
                    </a:cubicBezTo>
                    <a:cubicBezTo>
                      <a:pt x="669811" y="735409"/>
                      <a:pt x="668383" y="735409"/>
                      <a:pt x="666955" y="736121"/>
                    </a:cubicBezTo>
                    <a:cubicBezTo>
                      <a:pt x="665526" y="736121"/>
                      <a:pt x="664098" y="736121"/>
                      <a:pt x="662670" y="736834"/>
                    </a:cubicBezTo>
                    <a:cubicBezTo>
                      <a:pt x="661242" y="736834"/>
                      <a:pt x="659814" y="736834"/>
                      <a:pt x="658386" y="736834"/>
                    </a:cubicBezTo>
                    <a:cubicBezTo>
                      <a:pt x="656243" y="737546"/>
                      <a:pt x="654815" y="737546"/>
                      <a:pt x="652673" y="737546"/>
                    </a:cubicBezTo>
                    <a:cubicBezTo>
                      <a:pt x="651245" y="737546"/>
                      <a:pt x="650531" y="737546"/>
                      <a:pt x="649102" y="737546"/>
                    </a:cubicBezTo>
                    <a:cubicBezTo>
                      <a:pt x="646246" y="737546"/>
                      <a:pt x="643390" y="738259"/>
                      <a:pt x="640533" y="738259"/>
                    </a:cubicBezTo>
                    <a:cubicBezTo>
                      <a:pt x="636963" y="738259"/>
                      <a:pt x="634107" y="737546"/>
                      <a:pt x="631250" y="737546"/>
                    </a:cubicBezTo>
                    <a:cubicBezTo>
                      <a:pt x="629822" y="737546"/>
                      <a:pt x="628394" y="737546"/>
                      <a:pt x="627680" y="737546"/>
                    </a:cubicBezTo>
                    <a:cubicBezTo>
                      <a:pt x="625538" y="737546"/>
                      <a:pt x="624109" y="736834"/>
                      <a:pt x="621967" y="736834"/>
                    </a:cubicBezTo>
                    <a:cubicBezTo>
                      <a:pt x="620539" y="736834"/>
                      <a:pt x="619111" y="736834"/>
                      <a:pt x="617683" y="736121"/>
                    </a:cubicBezTo>
                    <a:cubicBezTo>
                      <a:pt x="616255" y="736121"/>
                      <a:pt x="614826" y="736121"/>
                      <a:pt x="613398" y="736121"/>
                    </a:cubicBezTo>
                    <a:cubicBezTo>
                      <a:pt x="611256" y="735409"/>
                      <a:pt x="609828" y="735409"/>
                      <a:pt x="607686" y="734696"/>
                    </a:cubicBezTo>
                    <a:cubicBezTo>
                      <a:pt x="606257" y="734696"/>
                      <a:pt x="605543" y="734696"/>
                      <a:pt x="604115" y="733983"/>
                    </a:cubicBezTo>
                    <a:cubicBezTo>
                      <a:pt x="602687" y="733983"/>
                      <a:pt x="600545" y="733271"/>
                      <a:pt x="598402" y="733271"/>
                    </a:cubicBezTo>
                    <a:cubicBezTo>
                      <a:pt x="597688" y="732558"/>
                      <a:pt x="596260" y="732558"/>
                      <a:pt x="595546" y="732558"/>
                    </a:cubicBezTo>
                    <a:cubicBezTo>
                      <a:pt x="593404" y="731846"/>
                      <a:pt x="591262" y="731133"/>
                      <a:pt x="589119" y="730420"/>
                    </a:cubicBezTo>
                    <a:cubicBezTo>
                      <a:pt x="588405" y="730420"/>
                      <a:pt x="587691" y="730420"/>
                      <a:pt x="586977" y="729708"/>
                    </a:cubicBezTo>
                    <a:cubicBezTo>
                      <a:pt x="584835" y="728995"/>
                      <a:pt x="582693" y="728282"/>
                      <a:pt x="580550" y="727570"/>
                    </a:cubicBezTo>
                    <a:cubicBezTo>
                      <a:pt x="579836" y="727570"/>
                      <a:pt x="579836" y="727570"/>
                      <a:pt x="579122" y="727570"/>
                    </a:cubicBezTo>
                    <a:cubicBezTo>
                      <a:pt x="576980" y="726145"/>
                      <a:pt x="574124" y="725432"/>
                      <a:pt x="571981" y="724719"/>
                    </a:cubicBezTo>
                    <a:cubicBezTo>
                      <a:pt x="571981" y="724719"/>
                      <a:pt x="571267" y="724007"/>
                      <a:pt x="570553" y="724007"/>
                    </a:cubicBezTo>
                    <a:cubicBezTo>
                      <a:pt x="568411" y="723294"/>
                      <a:pt x="566269" y="721869"/>
                      <a:pt x="564126" y="721156"/>
                    </a:cubicBezTo>
                    <a:cubicBezTo>
                      <a:pt x="563412" y="721156"/>
                      <a:pt x="563412" y="720444"/>
                      <a:pt x="562698" y="720444"/>
                    </a:cubicBezTo>
                    <a:cubicBezTo>
                      <a:pt x="560556" y="719731"/>
                      <a:pt x="558414" y="718306"/>
                      <a:pt x="555557" y="716881"/>
                    </a:cubicBezTo>
                    <a:cubicBezTo>
                      <a:pt x="552701" y="715456"/>
                      <a:pt x="550559" y="714030"/>
                      <a:pt x="548417" y="712605"/>
                    </a:cubicBezTo>
                    <a:cubicBezTo>
                      <a:pt x="548417" y="712605"/>
                      <a:pt x="548417" y="712605"/>
                      <a:pt x="547703" y="712605"/>
                    </a:cubicBezTo>
                    <a:cubicBezTo>
                      <a:pt x="545560" y="711180"/>
                      <a:pt x="543418" y="709755"/>
                      <a:pt x="540562" y="708330"/>
                    </a:cubicBezTo>
                    <a:cubicBezTo>
                      <a:pt x="531279" y="701916"/>
                      <a:pt x="521996" y="694790"/>
                      <a:pt x="514141" y="686951"/>
                    </a:cubicBezTo>
                    <a:cubicBezTo>
                      <a:pt x="511284" y="689802"/>
                      <a:pt x="509142" y="692652"/>
                      <a:pt x="506286" y="695503"/>
                    </a:cubicBezTo>
                    <a:cubicBezTo>
                      <a:pt x="506286" y="695503"/>
                      <a:pt x="506286" y="695503"/>
                      <a:pt x="505572" y="695503"/>
                    </a:cubicBezTo>
                    <a:cubicBezTo>
                      <a:pt x="503429" y="698353"/>
                      <a:pt x="500573" y="701203"/>
                      <a:pt x="497717" y="704054"/>
                    </a:cubicBezTo>
                    <a:cubicBezTo>
                      <a:pt x="497717" y="704054"/>
                      <a:pt x="497717" y="704054"/>
                      <a:pt x="497003" y="704054"/>
                    </a:cubicBezTo>
                    <a:cubicBezTo>
                      <a:pt x="489862" y="711180"/>
                      <a:pt x="482721" y="717593"/>
                      <a:pt x="474152" y="723294"/>
                    </a:cubicBezTo>
                    <a:cubicBezTo>
                      <a:pt x="473438" y="724007"/>
                      <a:pt x="472724" y="724007"/>
                      <a:pt x="472724" y="724719"/>
                    </a:cubicBezTo>
                    <a:cubicBezTo>
                      <a:pt x="469867" y="726145"/>
                      <a:pt x="467725" y="728282"/>
                      <a:pt x="464869" y="729708"/>
                    </a:cubicBezTo>
                    <a:cubicBezTo>
                      <a:pt x="464155" y="730420"/>
                      <a:pt x="462727" y="731133"/>
                      <a:pt x="462012" y="731846"/>
                    </a:cubicBezTo>
                    <a:cubicBezTo>
                      <a:pt x="459870" y="733271"/>
                      <a:pt x="457728" y="733983"/>
                      <a:pt x="455586" y="735409"/>
                    </a:cubicBezTo>
                    <a:cubicBezTo>
                      <a:pt x="454158" y="736121"/>
                      <a:pt x="452729" y="736834"/>
                      <a:pt x="452015" y="737546"/>
                    </a:cubicBezTo>
                    <a:cubicBezTo>
                      <a:pt x="449873" y="738972"/>
                      <a:pt x="448445" y="739684"/>
                      <a:pt x="446303" y="740397"/>
                    </a:cubicBezTo>
                    <a:cubicBezTo>
                      <a:pt x="444874" y="741109"/>
                      <a:pt x="442732" y="742535"/>
                      <a:pt x="441304" y="743247"/>
                    </a:cubicBezTo>
                    <a:cubicBezTo>
                      <a:pt x="439876" y="743960"/>
                      <a:pt x="438448" y="744672"/>
                      <a:pt x="437734" y="745385"/>
                    </a:cubicBezTo>
                    <a:cubicBezTo>
                      <a:pt x="434877" y="746098"/>
                      <a:pt x="432735" y="747523"/>
                      <a:pt x="430593" y="748235"/>
                    </a:cubicBezTo>
                    <a:cubicBezTo>
                      <a:pt x="429165" y="748948"/>
                      <a:pt x="428451" y="748948"/>
                      <a:pt x="427022" y="749661"/>
                    </a:cubicBezTo>
                    <a:cubicBezTo>
                      <a:pt x="424166" y="750373"/>
                      <a:pt x="422024" y="751798"/>
                      <a:pt x="419167" y="752511"/>
                    </a:cubicBezTo>
                    <a:cubicBezTo>
                      <a:pt x="418453" y="753224"/>
                      <a:pt x="417739" y="753224"/>
                      <a:pt x="416311" y="753936"/>
                    </a:cubicBezTo>
                    <a:cubicBezTo>
                      <a:pt x="414169" y="754649"/>
                      <a:pt x="411313" y="755361"/>
                      <a:pt x="408456" y="756787"/>
                    </a:cubicBezTo>
                    <a:cubicBezTo>
                      <a:pt x="407742" y="756787"/>
                      <a:pt x="407028" y="756787"/>
                      <a:pt x="406314" y="756787"/>
                    </a:cubicBezTo>
                    <a:cubicBezTo>
                      <a:pt x="403458" y="758212"/>
                      <a:pt x="400601" y="758925"/>
                      <a:pt x="397745" y="759637"/>
                    </a:cubicBezTo>
                    <a:cubicBezTo>
                      <a:pt x="397031" y="759637"/>
                      <a:pt x="397031" y="759637"/>
                      <a:pt x="396317" y="759637"/>
                    </a:cubicBezTo>
                    <a:cubicBezTo>
                      <a:pt x="392746" y="761062"/>
                      <a:pt x="389890" y="761775"/>
                      <a:pt x="387034" y="761775"/>
                    </a:cubicBezTo>
                    <a:cubicBezTo>
                      <a:pt x="386320" y="762488"/>
                      <a:pt x="385606" y="762488"/>
                      <a:pt x="384891" y="762488"/>
                    </a:cubicBezTo>
                    <a:cubicBezTo>
                      <a:pt x="381321" y="763200"/>
                      <a:pt x="378465" y="763913"/>
                      <a:pt x="374894" y="763913"/>
                    </a:cubicBezTo>
                    <a:cubicBezTo>
                      <a:pt x="374180" y="764625"/>
                      <a:pt x="374180" y="764625"/>
                      <a:pt x="373466" y="764625"/>
                    </a:cubicBezTo>
                    <a:cubicBezTo>
                      <a:pt x="369896" y="765338"/>
                      <a:pt x="366325" y="765338"/>
                      <a:pt x="363469" y="766051"/>
                    </a:cubicBezTo>
                    <a:cubicBezTo>
                      <a:pt x="362755" y="766051"/>
                      <a:pt x="362041" y="766051"/>
                      <a:pt x="361327" y="766051"/>
                    </a:cubicBezTo>
                    <a:cubicBezTo>
                      <a:pt x="357756" y="766051"/>
                      <a:pt x="354900" y="766763"/>
                      <a:pt x="351329" y="766763"/>
                    </a:cubicBezTo>
                    <a:cubicBezTo>
                      <a:pt x="350615" y="766763"/>
                      <a:pt x="350615" y="766763"/>
                      <a:pt x="349901" y="766763"/>
                    </a:cubicBezTo>
                    <a:cubicBezTo>
                      <a:pt x="346331" y="766763"/>
                      <a:pt x="342760" y="766763"/>
                      <a:pt x="339190" y="766763"/>
                    </a:cubicBezTo>
                    <a:cubicBezTo>
                      <a:pt x="335620" y="766763"/>
                      <a:pt x="332049" y="766763"/>
                      <a:pt x="328479" y="766763"/>
                    </a:cubicBezTo>
                    <a:cubicBezTo>
                      <a:pt x="327765" y="766763"/>
                      <a:pt x="327051" y="766763"/>
                      <a:pt x="326337" y="766763"/>
                    </a:cubicBezTo>
                    <a:cubicBezTo>
                      <a:pt x="322766" y="766763"/>
                      <a:pt x="319196" y="766051"/>
                      <a:pt x="315625" y="766051"/>
                    </a:cubicBezTo>
                    <a:cubicBezTo>
                      <a:pt x="314911" y="766051"/>
                      <a:pt x="314911" y="766051"/>
                      <a:pt x="314197" y="766051"/>
                    </a:cubicBezTo>
                    <a:cubicBezTo>
                      <a:pt x="311341" y="765338"/>
                      <a:pt x="307770" y="765338"/>
                      <a:pt x="304914" y="764625"/>
                    </a:cubicBezTo>
                    <a:cubicBezTo>
                      <a:pt x="304200" y="764625"/>
                      <a:pt x="303486" y="764625"/>
                      <a:pt x="303486" y="764625"/>
                    </a:cubicBezTo>
                    <a:cubicBezTo>
                      <a:pt x="299915" y="763913"/>
                      <a:pt x="296345" y="763200"/>
                      <a:pt x="293489" y="762488"/>
                    </a:cubicBezTo>
                    <a:cubicBezTo>
                      <a:pt x="292775" y="762488"/>
                      <a:pt x="292061" y="762488"/>
                      <a:pt x="291346" y="761775"/>
                    </a:cubicBezTo>
                    <a:cubicBezTo>
                      <a:pt x="287776" y="761775"/>
                      <a:pt x="284920" y="761062"/>
                      <a:pt x="281349" y="759637"/>
                    </a:cubicBezTo>
                    <a:cubicBezTo>
                      <a:pt x="277779" y="758925"/>
                      <a:pt x="274923" y="758212"/>
                      <a:pt x="271352" y="756787"/>
                    </a:cubicBezTo>
                    <a:cubicBezTo>
                      <a:pt x="270638" y="756787"/>
                      <a:pt x="270638" y="756787"/>
                      <a:pt x="269924" y="756074"/>
                    </a:cubicBezTo>
                    <a:cubicBezTo>
                      <a:pt x="267068" y="755361"/>
                      <a:pt x="263497" y="754649"/>
                      <a:pt x="260641" y="753224"/>
                    </a:cubicBezTo>
                    <a:cubicBezTo>
                      <a:pt x="259927" y="753224"/>
                      <a:pt x="259927" y="752511"/>
                      <a:pt x="259213" y="752511"/>
                    </a:cubicBezTo>
                    <a:cubicBezTo>
                      <a:pt x="256356" y="751798"/>
                      <a:pt x="253500" y="750373"/>
                      <a:pt x="251358" y="749661"/>
                    </a:cubicBezTo>
                    <a:cubicBezTo>
                      <a:pt x="250644" y="748948"/>
                      <a:pt x="249930" y="748948"/>
                      <a:pt x="249216" y="748948"/>
                    </a:cubicBezTo>
                    <a:cubicBezTo>
                      <a:pt x="246359" y="747523"/>
                      <a:pt x="243503" y="746098"/>
                      <a:pt x="240646" y="744672"/>
                    </a:cubicBezTo>
                    <a:cubicBezTo>
                      <a:pt x="239932" y="744672"/>
                      <a:pt x="239218" y="743960"/>
                      <a:pt x="238504" y="743960"/>
                    </a:cubicBezTo>
                    <a:cubicBezTo>
                      <a:pt x="235648" y="742535"/>
                      <a:pt x="232792" y="741109"/>
                      <a:pt x="230649" y="739684"/>
                    </a:cubicBezTo>
                    <a:cubicBezTo>
                      <a:pt x="229935" y="739684"/>
                      <a:pt x="229935" y="738972"/>
                      <a:pt x="229221" y="738972"/>
                    </a:cubicBezTo>
                    <a:cubicBezTo>
                      <a:pt x="226365" y="737546"/>
                      <a:pt x="223508" y="736121"/>
                      <a:pt x="221366" y="734696"/>
                    </a:cubicBezTo>
                    <a:cubicBezTo>
                      <a:pt x="220652" y="733983"/>
                      <a:pt x="219224" y="733271"/>
                      <a:pt x="218510" y="733271"/>
                    </a:cubicBezTo>
                    <a:cubicBezTo>
                      <a:pt x="216368" y="731133"/>
                      <a:pt x="213511" y="729708"/>
                      <a:pt x="211369" y="728282"/>
                    </a:cubicBezTo>
                    <a:cubicBezTo>
                      <a:pt x="210655" y="727570"/>
                      <a:pt x="209941" y="726857"/>
                      <a:pt x="209227" y="726857"/>
                    </a:cubicBezTo>
                    <a:cubicBezTo>
                      <a:pt x="207085" y="725432"/>
                      <a:pt x="204942" y="724007"/>
                      <a:pt x="202800" y="722582"/>
                    </a:cubicBezTo>
                    <a:cubicBezTo>
                      <a:pt x="202086" y="721869"/>
                      <a:pt x="201372" y="721156"/>
                      <a:pt x="200658" y="720444"/>
                    </a:cubicBezTo>
                    <a:cubicBezTo>
                      <a:pt x="198516" y="719019"/>
                      <a:pt x="195659" y="716881"/>
                      <a:pt x="193517" y="715456"/>
                    </a:cubicBezTo>
                    <a:cubicBezTo>
                      <a:pt x="192803" y="714743"/>
                      <a:pt x="192089" y="714030"/>
                      <a:pt x="191375" y="713318"/>
                    </a:cubicBezTo>
                    <a:cubicBezTo>
                      <a:pt x="189232" y="711893"/>
                      <a:pt x="187090" y="709755"/>
                      <a:pt x="185662" y="708330"/>
                    </a:cubicBezTo>
                    <a:cubicBezTo>
                      <a:pt x="184948" y="707617"/>
                      <a:pt x="184234" y="707617"/>
                      <a:pt x="184234" y="706904"/>
                    </a:cubicBezTo>
                    <a:cubicBezTo>
                      <a:pt x="182092" y="704767"/>
                      <a:pt x="179949" y="702629"/>
                      <a:pt x="177807" y="700491"/>
                    </a:cubicBezTo>
                    <a:cubicBezTo>
                      <a:pt x="177093" y="699778"/>
                      <a:pt x="175665" y="699066"/>
                      <a:pt x="174951" y="698353"/>
                    </a:cubicBezTo>
                    <a:cubicBezTo>
                      <a:pt x="173523" y="696215"/>
                      <a:pt x="171380" y="694077"/>
                      <a:pt x="169238" y="691940"/>
                    </a:cubicBezTo>
                    <a:cubicBezTo>
                      <a:pt x="168524" y="691227"/>
                      <a:pt x="167810" y="690514"/>
                      <a:pt x="167096" y="689802"/>
                    </a:cubicBezTo>
                    <a:cubicBezTo>
                      <a:pt x="165668" y="688377"/>
                      <a:pt x="164240" y="686239"/>
                      <a:pt x="162811" y="684814"/>
                    </a:cubicBezTo>
                    <a:cubicBezTo>
                      <a:pt x="162097" y="684101"/>
                      <a:pt x="161383" y="683388"/>
                      <a:pt x="160669" y="682676"/>
                    </a:cubicBezTo>
                    <a:cubicBezTo>
                      <a:pt x="158527" y="679825"/>
                      <a:pt x="157099" y="677688"/>
                      <a:pt x="154956" y="675550"/>
                    </a:cubicBezTo>
                    <a:cubicBezTo>
                      <a:pt x="154956" y="674837"/>
                      <a:pt x="154242" y="674125"/>
                      <a:pt x="153528" y="672699"/>
                    </a:cubicBezTo>
                    <a:cubicBezTo>
                      <a:pt x="152100" y="671274"/>
                      <a:pt x="150672" y="669136"/>
                      <a:pt x="149244" y="666998"/>
                    </a:cubicBezTo>
                    <a:cubicBezTo>
                      <a:pt x="148530" y="666286"/>
                      <a:pt x="148530" y="665573"/>
                      <a:pt x="147816" y="664861"/>
                    </a:cubicBezTo>
                    <a:cubicBezTo>
                      <a:pt x="144959" y="664148"/>
                      <a:pt x="142103" y="662723"/>
                      <a:pt x="139247" y="662010"/>
                    </a:cubicBezTo>
                    <a:cubicBezTo>
                      <a:pt x="137818" y="661298"/>
                      <a:pt x="137104" y="661298"/>
                      <a:pt x="135676" y="660585"/>
                    </a:cubicBezTo>
                    <a:cubicBezTo>
                      <a:pt x="134248" y="659872"/>
                      <a:pt x="132106" y="659160"/>
                      <a:pt x="129964" y="658447"/>
                    </a:cubicBezTo>
                    <a:cubicBezTo>
                      <a:pt x="129249" y="658447"/>
                      <a:pt x="127821" y="657735"/>
                      <a:pt x="127107" y="657022"/>
                    </a:cubicBezTo>
                    <a:cubicBezTo>
                      <a:pt x="124965" y="656309"/>
                      <a:pt x="122823" y="655597"/>
                      <a:pt x="121394" y="654884"/>
                    </a:cubicBezTo>
                    <a:cubicBezTo>
                      <a:pt x="119966" y="654172"/>
                      <a:pt x="119252" y="653459"/>
                      <a:pt x="117824" y="653459"/>
                    </a:cubicBezTo>
                    <a:cubicBezTo>
                      <a:pt x="116396" y="652034"/>
                      <a:pt x="114254" y="651321"/>
                      <a:pt x="112111" y="649896"/>
                    </a:cubicBezTo>
                    <a:cubicBezTo>
                      <a:pt x="111397" y="649896"/>
                      <a:pt x="110683" y="649183"/>
                      <a:pt x="109969" y="649183"/>
                    </a:cubicBezTo>
                    <a:cubicBezTo>
                      <a:pt x="107113" y="647758"/>
                      <a:pt x="104256" y="646333"/>
                      <a:pt x="102114" y="644195"/>
                    </a:cubicBezTo>
                    <a:cubicBezTo>
                      <a:pt x="101400" y="644195"/>
                      <a:pt x="99972" y="643482"/>
                      <a:pt x="99258" y="642770"/>
                    </a:cubicBezTo>
                    <a:cubicBezTo>
                      <a:pt x="97830" y="642057"/>
                      <a:pt x="95687" y="640632"/>
                      <a:pt x="94259" y="639207"/>
                    </a:cubicBezTo>
                    <a:cubicBezTo>
                      <a:pt x="92831" y="639207"/>
                      <a:pt x="92117" y="638494"/>
                      <a:pt x="91403" y="637782"/>
                    </a:cubicBezTo>
                    <a:cubicBezTo>
                      <a:pt x="89261" y="636356"/>
                      <a:pt x="87833" y="635644"/>
                      <a:pt x="86404" y="634219"/>
                    </a:cubicBezTo>
                    <a:cubicBezTo>
                      <a:pt x="84976" y="633506"/>
                      <a:pt x="84262" y="632793"/>
                      <a:pt x="83548" y="632081"/>
                    </a:cubicBezTo>
                    <a:cubicBezTo>
                      <a:pt x="81406" y="630656"/>
                      <a:pt x="79978" y="629230"/>
                      <a:pt x="78549" y="628518"/>
                    </a:cubicBezTo>
                    <a:cubicBezTo>
                      <a:pt x="77835" y="627805"/>
                      <a:pt x="77121" y="627093"/>
                      <a:pt x="76407" y="626380"/>
                    </a:cubicBezTo>
                    <a:cubicBezTo>
                      <a:pt x="73551" y="624242"/>
                      <a:pt x="71409" y="622817"/>
                      <a:pt x="69266" y="620679"/>
                    </a:cubicBezTo>
                    <a:cubicBezTo>
                      <a:pt x="68552" y="619967"/>
                      <a:pt x="68552" y="619254"/>
                      <a:pt x="67838" y="619254"/>
                    </a:cubicBezTo>
                    <a:cubicBezTo>
                      <a:pt x="65696" y="617829"/>
                      <a:pt x="64268" y="615691"/>
                      <a:pt x="62126" y="614266"/>
                    </a:cubicBezTo>
                    <a:cubicBezTo>
                      <a:pt x="61411" y="613553"/>
                      <a:pt x="60697" y="612840"/>
                      <a:pt x="59983" y="612128"/>
                    </a:cubicBezTo>
                    <a:cubicBezTo>
                      <a:pt x="58555" y="610703"/>
                      <a:pt x="57127" y="609277"/>
                      <a:pt x="55699" y="607140"/>
                    </a:cubicBezTo>
                    <a:cubicBezTo>
                      <a:pt x="54985" y="606427"/>
                      <a:pt x="54271" y="605714"/>
                      <a:pt x="53557" y="605002"/>
                    </a:cubicBezTo>
                    <a:cubicBezTo>
                      <a:pt x="52128" y="603577"/>
                      <a:pt x="50700" y="602151"/>
                      <a:pt x="49272" y="600014"/>
                    </a:cubicBezTo>
                    <a:cubicBezTo>
                      <a:pt x="48558" y="599301"/>
                      <a:pt x="47844" y="598588"/>
                      <a:pt x="47844" y="597876"/>
                    </a:cubicBezTo>
                    <a:cubicBezTo>
                      <a:pt x="45702" y="595738"/>
                      <a:pt x="43559" y="593600"/>
                      <a:pt x="42131" y="590750"/>
                    </a:cubicBezTo>
                    <a:cubicBezTo>
                      <a:pt x="42131" y="590750"/>
                      <a:pt x="42131" y="590750"/>
                      <a:pt x="41417" y="590750"/>
                    </a:cubicBezTo>
                    <a:cubicBezTo>
                      <a:pt x="39989" y="587899"/>
                      <a:pt x="37847" y="585761"/>
                      <a:pt x="36419" y="582911"/>
                    </a:cubicBezTo>
                    <a:cubicBezTo>
                      <a:pt x="35704" y="582198"/>
                      <a:pt x="34990" y="581486"/>
                      <a:pt x="34990" y="580773"/>
                    </a:cubicBezTo>
                    <a:cubicBezTo>
                      <a:pt x="33562" y="578635"/>
                      <a:pt x="32134" y="577210"/>
                      <a:pt x="31420" y="575072"/>
                    </a:cubicBezTo>
                    <a:cubicBezTo>
                      <a:pt x="30706" y="574360"/>
                      <a:pt x="29992" y="573647"/>
                      <a:pt x="29278" y="572222"/>
                    </a:cubicBezTo>
                    <a:cubicBezTo>
                      <a:pt x="28564" y="570797"/>
                      <a:pt x="27135" y="568659"/>
                      <a:pt x="26421" y="567234"/>
                    </a:cubicBezTo>
                    <a:cubicBezTo>
                      <a:pt x="25707" y="566521"/>
                      <a:pt x="25707" y="565096"/>
                      <a:pt x="24993" y="564383"/>
                    </a:cubicBezTo>
                    <a:cubicBezTo>
                      <a:pt x="23565" y="562246"/>
                      <a:pt x="22851" y="560108"/>
                      <a:pt x="21423" y="557970"/>
                    </a:cubicBezTo>
                    <a:cubicBezTo>
                      <a:pt x="21423" y="557257"/>
                      <a:pt x="20709" y="556545"/>
                      <a:pt x="20709" y="555832"/>
                    </a:cubicBezTo>
                    <a:cubicBezTo>
                      <a:pt x="19281" y="552982"/>
                      <a:pt x="17852" y="550131"/>
                      <a:pt x="16424" y="547281"/>
                    </a:cubicBezTo>
                    <a:cubicBezTo>
                      <a:pt x="16424" y="546568"/>
                      <a:pt x="16424" y="545856"/>
                      <a:pt x="15710" y="545143"/>
                    </a:cubicBezTo>
                    <a:cubicBezTo>
                      <a:pt x="14996" y="543005"/>
                      <a:pt x="14282" y="540867"/>
                      <a:pt x="13568" y="538730"/>
                    </a:cubicBezTo>
                    <a:cubicBezTo>
                      <a:pt x="12854" y="538017"/>
                      <a:pt x="12140" y="536592"/>
                      <a:pt x="12140" y="535879"/>
                    </a:cubicBezTo>
                    <a:cubicBezTo>
                      <a:pt x="11426" y="533741"/>
                      <a:pt x="10712" y="531604"/>
                      <a:pt x="9997" y="530178"/>
                    </a:cubicBezTo>
                    <a:cubicBezTo>
                      <a:pt x="9997" y="528753"/>
                      <a:pt x="9283" y="528040"/>
                      <a:pt x="9283" y="526615"/>
                    </a:cubicBezTo>
                    <a:cubicBezTo>
                      <a:pt x="8569" y="524477"/>
                      <a:pt x="7855" y="522340"/>
                      <a:pt x="7141" y="520202"/>
                    </a:cubicBezTo>
                    <a:cubicBezTo>
                      <a:pt x="7141" y="519489"/>
                      <a:pt x="6427" y="518064"/>
                      <a:pt x="6427" y="517351"/>
                    </a:cubicBezTo>
                    <a:cubicBezTo>
                      <a:pt x="5713" y="514501"/>
                      <a:pt x="4999" y="511651"/>
                      <a:pt x="4285" y="508088"/>
                    </a:cubicBezTo>
                    <a:cubicBezTo>
                      <a:pt x="4285" y="507375"/>
                      <a:pt x="4285" y="507375"/>
                      <a:pt x="4285" y="506662"/>
                    </a:cubicBezTo>
                    <a:cubicBezTo>
                      <a:pt x="3571" y="503812"/>
                      <a:pt x="2857" y="501674"/>
                      <a:pt x="2857" y="498824"/>
                    </a:cubicBezTo>
                    <a:cubicBezTo>
                      <a:pt x="2143" y="497398"/>
                      <a:pt x="2143" y="496686"/>
                      <a:pt x="2143" y="495261"/>
                    </a:cubicBezTo>
                    <a:cubicBezTo>
                      <a:pt x="2143" y="493123"/>
                      <a:pt x="1428" y="490985"/>
                      <a:pt x="1428" y="488847"/>
                    </a:cubicBezTo>
                    <a:cubicBezTo>
                      <a:pt x="1428" y="488135"/>
                      <a:pt x="714" y="486709"/>
                      <a:pt x="714" y="485284"/>
                    </a:cubicBezTo>
                    <a:cubicBezTo>
                      <a:pt x="714" y="483146"/>
                      <a:pt x="714" y="481009"/>
                      <a:pt x="714" y="478871"/>
                    </a:cubicBezTo>
                    <a:cubicBezTo>
                      <a:pt x="0" y="478158"/>
                      <a:pt x="0" y="476733"/>
                      <a:pt x="0" y="476020"/>
                    </a:cubicBezTo>
                    <a:cubicBezTo>
                      <a:pt x="0" y="472457"/>
                      <a:pt x="0" y="468894"/>
                      <a:pt x="0" y="466044"/>
                    </a:cubicBezTo>
                    <a:cubicBezTo>
                      <a:pt x="0" y="361291"/>
                      <a:pt x="77835" y="274353"/>
                      <a:pt x="179949" y="260101"/>
                    </a:cubicBezTo>
                    <a:cubicBezTo>
                      <a:pt x="179949" y="252262"/>
                      <a:pt x="179235" y="244424"/>
                      <a:pt x="179235" y="235872"/>
                    </a:cubicBezTo>
                    <a:cubicBezTo>
                      <a:pt x="179235" y="105466"/>
                      <a:pt x="285634" y="0"/>
                      <a:pt x="417739" y="0"/>
                    </a:cubicBezTo>
                    <a:close/>
                  </a:path>
                </a:pathLst>
              </a:custGeom>
              <a:solidFill>
                <a:srgbClr val="2D716B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1800" b="0" i="0" u="none" strike="noStrike" kern="1200" cap="none" spc="0" normalizeH="0" baseline="0" noProof="0">
                  <a:ln>
                    <a:noFill/>
                  </a:ln>
                  <a:solidFill>
                    <a:srgbClr val="575757"/>
                  </a:solidFill>
                  <a:effectLst/>
                  <a:uLnTx/>
                  <a:uFillTx/>
                  <a:latin typeface="+mj-lt"/>
                </a:endParaRPr>
              </a:p>
            </p:txBody>
          </p:sp>
        </p:grpSp>
      </p:grpSp>
      <p:sp>
        <p:nvSpPr>
          <p:cNvPr id="148" name="TextBox 170">
            <a:extLst>
              <a:ext uri="{FF2B5EF4-FFF2-40B4-BE49-F238E27FC236}">
                <a16:creationId xmlns:a16="http://schemas.microsoft.com/office/drawing/2014/main" id="{53A7812F-DBAD-FC55-57D6-29D0D5F86DF3}"/>
              </a:ext>
            </a:extLst>
          </p:cNvPr>
          <p:cNvSpPr txBox="1"/>
          <p:nvPr/>
        </p:nvSpPr>
        <p:spPr>
          <a:xfrm>
            <a:off x="3890051" y="3925539"/>
            <a:ext cx="1105637" cy="250947"/>
          </a:xfrm>
          <a:prstGeom prst="roundRect">
            <a:avLst/>
          </a:prstGeom>
          <a:solidFill>
            <a:srgbClr val="FFFFFF"/>
          </a:solidFill>
          <a:ln w="6350" cap="rnd">
            <a:solidFill>
              <a:srgbClr val="6E6F73"/>
            </a:solidFill>
            <a:prstDash val="solid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it-IT" sz="1400" i="1">
                <a:solidFill>
                  <a:schemeClr val="tx1"/>
                </a:solidFill>
                <a:latin typeface="+mj-lt"/>
              </a:rPr>
              <a:t>71 kton CO</a:t>
            </a:r>
            <a:r>
              <a:rPr lang="it-IT" sz="1400" i="1" baseline="-25000">
                <a:solidFill>
                  <a:schemeClr val="tx1"/>
                </a:solidFill>
                <a:latin typeface="+mj-lt"/>
              </a:rPr>
              <a:t>2</a:t>
            </a:r>
          </a:p>
        </p:txBody>
      </p:sp>
      <p:sp>
        <p:nvSpPr>
          <p:cNvPr id="56" name="TextBox 171">
            <a:extLst>
              <a:ext uri="{FF2B5EF4-FFF2-40B4-BE49-F238E27FC236}">
                <a16:creationId xmlns:a16="http://schemas.microsoft.com/office/drawing/2014/main" id="{21AFBF44-B175-50E3-87D4-0AEF5C5DC365}"/>
              </a:ext>
            </a:extLst>
          </p:cNvPr>
          <p:cNvSpPr txBox="1"/>
          <p:nvPr/>
        </p:nvSpPr>
        <p:spPr>
          <a:xfrm>
            <a:off x="4876318" y="2836635"/>
            <a:ext cx="1293647" cy="414362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it-IT" sz="1400" i="1">
                <a:solidFill>
                  <a:schemeClr val="tx1"/>
                </a:solidFill>
                <a:latin typeface="+mj-lt"/>
              </a:rPr>
              <a:t>Impianto Cattura CO</a:t>
            </a:r>
            <a:r>
              <a:rPr lang="it-IT" sz="1400" i="1" baseline="-25000">
                <a:solidFill>
                  <a:schemeClr val="tx1"/>
                </a:solidFill>
                <a:latin typeface="+mj-lt"/>
              </a:rPr>
              <a:t>2</a:t>
            </a:r>
          </a:p>
        </p:txBody>
      </p:sp>
      <p:cxnSp>
        <p:nvCxnSpPr>
          <p:cNvPr id="149" name="Connector: Elbow 29">
            <a:extLst>
              <a:ext uri="{FF2B5EF4-FFF2-40B4-BE49-F238E27FC236}">
                <a16:creationId xmlns:a16="http://schemas.microsoft.com/office/drawing/2014/main" id="{4A7DB75B-2019-D692-06AF-24C9DD60BA35}"/>
              </a:ext>
            </a:extLst>
          </p:cNvPr>
          <p:cNvCxnSpPr>
            <a:cxnSpLocks/>
          </p:cNvCxnSpPr>
          <p:nvPr/>
        </p:nvCxnSpPr>
        <p:spPr>
          <a:xfrm flipV="1">
            <a:off x="5864937" y="3520909"/>
            <a:ext cx="1185006" cy="285053"/>
          </a:xfrm>
          <a:prstGeom prst="bentConnector3">
            <a:avLst>
              <a:gd name="adj1" fmla="val 50000"/>
            </a:avLst>
          </a:prstGeom>
          <a:ln w="38100" cap="flat" cmpd="sng" algn="ctr">
            <a:solidFill>
              <a:srgbClr val="009670"/>
            </a:solidFill>
            <a:prstDash val="sysDot"/>
            <a:round/>
            <a:headEnd type="none" w="med" len="med"/>
            <a:tailEnd type="triangle" w="med" len="med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156" name="Straight Arrow Connector 13">
            <a:extLst>
              <a:ext uri="{FF2B5EF4-FFF2-40B4-BE49-F238E27FC236}">
                <a16:creationId xmlns:a16="http://schemas.microsoft.com/office/drawing/2014/main" id="{65C2B342-615F-F979-C6BA-FC40E67391A3}"/>
              </a:ext>
            </a:extLst>
          </p:cNvPr>
          <p:cNvCxnSpPr>
            <a:cxnSpLocks/>
          </p:cNvCxnSpPr>
          <p:nvPr/>
        </p:nvCxnSpPr>
        <p:spPr>
          <a:xfrm>
            <a:off x="8450411" y="3520909"/>
            <a:ext cx="1737051" cy="2946"/>
          </a:xfrm>
          <a:prstGeom prst="straightConnector1">
            <a:avLst/>
          </a:prstGeom>
          <a:ln w="38100" cap="flat" cmpd="sng" algn="ctr">
            <a:solidFill>
              <a:srgbClr val="5A5B5E"/>
            </a:solidFill>
            <a:prstDash val="sysDot"/>
            <a:round/>
            <a:headEnd type="none" w="med" len="med"/>
            <a:tailEnd type="triangle" w="med" len="med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pic>
        <p:nvPicPr>
          <p:cNvPr id="2064" name="Picture 6" descr="Costruzione della rete elettrica Immagini Vettoriali Stock - Alamy">
            <a:extLst>
              <a:ext uri="{FF2B5EF4-FFF2-40B4-BE49-F238E27FC236}">
                <a16:creationId xmlns:a16="http://schemas.microsoft.com/office/drawing/2014/main" id="{6ECE6DA9-0D30-7B20-500D-8291945E92C7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9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2694"/>
          <a:stretch/>
        </p:blipFill>
        <p:spPr bwMode="auto">
          <a:xfrm>
            <a:off x="5182223" y="5626265"/>
            <a:ext cx="932678" cy="8932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2066" name="Connector: Elbow 29">
            <a:extLst>
              <a:ext uri="{FF2B5EF4-FFF2-40B4-BE49-F238E27FC236}">
                <a16:creationId xmlns:a16="http://schemas.microsoft.com/office/drawing/2014/main" id="{716DF709-0263-CE90-45FB-AE490C8A82D5}"/>
              </a:ext>
            </a:extLst>
          </p:cNvPr>
          <p:cNvCxnSpPr>
            <a:cxnSpLocks/>
          </p:cNvCxnSpPr>
          <p:nvPr/>
        </p:nvCxnSpPr>
        <p:spPr>
          <a:xfrm>
            <a:off x="2869486" y="4542458"/>
            <a:ext cx="2312737" cy="1530442"/>
          </a:xfrm>
          <a:prstGeom prst="bentConnector3">
            <a:avLst>
              <a:gd name="adj1" fmla="val 680"/>
            </a:avLst>
          </a:prstGeom>
          <a:ln w="38100" cap="flat" cmpd="sng" algn="ctr">
            <a:solidFill>
              <a:srgbClr val="ED7F00"/>
            </a:solidFill>
            <a:prstDash val="solid"/>
            <a:round/>
            <a:headEnd type="none" w="med" len="med"/>
            <a:tailEnd type="triangle" w="med" len="med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1035" name="TextBox 22">
            <a:extLst>
              <a:ext uri="{FF2B5EF4-FFF2-40B4-BE49-F238E27FC236}">
                <a16:creationId xmlns:a16="http://schemas.microsoft.com/office/drawing/2014/main" id="{EF9AE12E-4C12-8C61-BAEA-EFE5A0C178F4}"/>
              </a:ext>
            </a:extLst>
          </p:cNvPr>
          <p:cNvSpPr txBox="1"/>
          <p:nvPr/>
        </p:nvSpPr>
        <p:spPr>
          <a:xfrm>
            <a:off x="4876318" y="5294447"/>
            <a:ext cx="1394371" cy="344484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it-IT" sz="1400" i="1">
                <a:solidFill>
                  <a:srgbClr val="ED7F00"/>
                </a:solidFill>
                <a:latin typeface="+mj-lt"/>
              </a:rPr>
              <a:t>Rete nazionale</a:t>
            </a:r>
          </a:p>
        </p:txBody>
      </p:sp>
      <p:pic>
        <p:nvPicPr>
          <p:cNvPr id="2" name="Picture 2">
            <a:extLst>
              <a:ext uri="{FF2B5EF4-FFF2-40B4-BE49-F238E27FC236}">
                <a16:creationId xmlns:a16="http://schemas.microsoft.com/office/drawing/2014/main" id="{EE2C53EC-1BF2-3DCD-B16F-B39BF684010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71661" y="2273840"/>
            <a:ext cx="563560" cy="5231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2" name="Picture 8">
            <a:extLst>
              <a:ext uri="{FF2B5EF4-FFF2-40B4-BE49-F238E27FC236}">
                <a16:creationId xmlns:a16="http://schemas.microsoft.com/office/drawing/2014/main" id="{6D3D2A29-B6AA-C723-03DC-A27F8155F17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45870" y="2240711"/>
            <a:ext cx="460632" cy="5231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154AD17B-12FC-AD28-C2CB-0C964A61A8C3}"/>
              </a:ext>
            </a:extLst>
          </p:cNvPr>
          <p:cNvSpPr/>
          <p:nvPr/>
        </p:nvSpPr>
        <p:spPr>
          <a:xfrm>
            <a:off x="9860366" y="2168889"/>
            <a:ext cx="1217066" cy="687003"/>
          </a:xfrm>
          <a:prstGeom prst="rect">
            <a:avLst/>
          </a:prstGeom>
          <a:noFill/>
          <a:ln w="9525" cap="rnd" cmpd="sng" algn="ctr">
            <a:solidFill>
              <a:schemeClr val="tx1"/>
            </a:solidFill>
            <a:prstDash val="sysDash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19E583AA-4E6B-AD64-55FB-947DC172837C}"/>
              </a:ext>
            </a:extLst>
          </p:cNvPr>
          <p:cNvSpPr txBox="1"/>
          <p:nvPr/>
        </p:nvSpPr>
        <p:spPr>
          <a:xfrm>
            <a:off x="9566980" y="1916471"/>
            <a:ext cx="1803839" cy="237971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it-IT" sz="1400" i="1">
                <a:solidFill>
                  <a:schemeClr val="tx1"/>
                </a:solidFill>
                <a:latin typeface="+mj-lt"/>
              </a:rPr>
              <a:t>Joint Venture</a:t>
            </a:r>
          </a:p>
        </p:txBody>
      </p:sp>
      <p:sp>
        <p:nvSpPr>
          <p:cNvPr id="40" name="AutoShape 92">
            <a:extLst>
              <a:ext uri="{FF2B5EF4-FFF2-40B4-BE49-F238E27FC236}">
                <a16:creationId xmlns:a16="http://schemas.microsoft.com/office/drawing/2014/main" id="{1F2B11A8-1497-2B07-5B91-B48FC9F24438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164248" y="2007111"/>
            <a:ext cx="460363" cy="4603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" name="CasellaDiTesto 2">
            <a:extLst>
              <a:ext uri="{FF2B5EF4-FFF2-40B4-BE49-F238E27FC236}">
                <a16:creationId xmlns:a16="http://schemas.microsoft.com/office/drawing/2014/main" id="{443D6F34-1BE0-2B66-FBD5-67817535576B}"/>
              </a:ext>
            </a:extLst>
          </p:cNvPr>
          <p:cNvSpPr txBox="1"/>
          <p:nvPr/>
        </p:nvSpPr>
        <p:spPr>
          <a:xfrm>
            <a:off x="492539" y="124918"/>
            <a:ext cx="1098833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3200" dirty="0">
                <a:solidFill>
                  <a:srgbClr val="30636E"/>
                </a:solidFill>
                <a:latin typeface="Bahnschrift Light SemiCondensed" panose="020B0502040204020203" pitchFamily="34" charset="0"/>
              </a:rPr>
              <a:t>CAPTURESTE – Key features</a:t>
            </a:r>
          </a:p>
        </p:txBody>
      </p:sp>
    </p:spTree>
    <p:extLst>
      <p:ext uri="{BB962C8B-B14F-4D97-AF65-F5344CB8AC3E}">
        <p14:creationId xmlns:p14="http://schemas.microsoft.com/office/powerpoint/2010/main" val="82932063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asellaDiTesto 1">
            <a:extLst>
              <a:ext uri="{FF2B5EF4-FFF2-40B4-BE49-F238E27FC236}">
                <a16:creationId xmlns:a16="http://schemas.microsoft.com/office/drawing/2014/main" id="{0389CD82-FCD4-C5DA-3AC4-479D96C298D4}"/>
              </a:ext>
            </a:extLst>
          </p:cNvPr>
          <p:cNvSpPr txBox="1"/>
          <p:nvPr/>
        </p:nvSpPr>
        <p:spPr>
          <a:xfrm>
            <a:off x="241267" y="831974"/>
            <a:ext cx="7536158" cy="3337517"/>
          </a:xfrm>
          <a:prstGeom prst="rect">
            <a:avLst/>
          </a:prstGeom>
          <a:noFill/>
          <a:ln w="9525" cap="rnd" cmpd="sng" algn="ctr">
            <a:solidFill>
              <a:schemeClr val="accent1"/>
            </a:solidFill>
            <a:prstDash val="solid"/>
            <a:rou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t">
            <a:spAutoFit/>
          </a:bodyPr>
          <a:lstStyle/>
          <a:p>
            <a:pPr algn="just">
              <a:lnSpc>
                <a:spcPct val="115000"/>
              </a:lnSpc>
              <a:spcAft>
                <a:spcPts val="800"/>
              </a:spcAft>
            </a:pPr>
            <a:r>
              <a:rPr lang="en-US" kern="100" dirty="0" err="1">
                <a:solidFill>
                  <a:srgbClr val="30636E"/>
                </a:solidFill>
                <a:latin typeface="Bahnschrift Light SemiCondensed" panose="020B0502040204020203" pitchFamily="34" charset="0"/>
                <a:ea typeface="Calibri"/>
                <a:cs typeface="Arial"/>
              </a:rPr>
              <a:t>Nell’Ottobre</a:t>
            </a:r>
            <a:r>
              <a:rPr lang="en-US" kern="100" dirty="0">
                <a:solidFill>
                  <a:srgbClr val="30636E"/>
                </a:solidFill>
                <a:latin typeface="Bahnschrift Light SemiCondensed" panose="020B0502040204020203" pitchFamily="34" charset="0"/>
                <a:ea typeface="Calibri"/>
                <a:cs typeface="Arial"/>
              </a:rPr>
              <a:t> 2024, il </a:t>
            </a:r>
            <a:r>
              <a:rPr lang="en-US" kern="100" dirty="0" err="1">
                <a:solidFill>
                  <a:srgbClr val="30636E"/>
                </a:solidFill>
                <a:latin typeface="Bahnschrift Light SemiCondensed" panose="020B0502040204020203" pitchFamily="34" charset="0"/>
                <a:ea typeface="Calibri"/>
                <a:cs typeface="Arial"/>
              </a:rPr>
              <a:t>progetto</a:t>
            </a:r>
            <a:r>
              <a:rPr lang="en-US" kern="100" dirty="0">
                <a:solidFill>
                  <a:srgbClr val="30636E"/>
                </a:solidFill>
                <a:latin typeface="Bahnschrift Light SemiCondensed" panose="020B0502040204020203" pitchFamily="34" charset="0"/>
                <a:ea typeface="Calibri"/>
                <a:cs typeface="Arial"/>
              </a:rPr>
              <a:t> </a:t>
            </a:r>
            <a:r>
              <a:rPr lang="en-US" b="1" kern="100" dirty="0" err="1">
                <a:solidFill>
                  <a:srgbClr val="30636E"/>
                </a:solidFill>
                <a:latin typeface="Bahnschrift Light SemiCondensed" panose="020B0502040204020203" pitchFamily="34" charset="0"/>
                <a:ea typeface="Calibri"/>
                <a:cs typeface="Arial"/>
              </a:rPr>
              <a:t>CapturEste</a:t>
            </a:r>
            <a:r>
              <a:rPr lang="en-US" kern="100" dirty="0">
                <a:solidFill>
                  <a:srgbClr val="30636E"/>
                </a:solidFill>
                <a:latin typeface="Bahnschrift Light SemiCondensed" panose="020B0502040204020203" pitchFamily="34" charset="0"/>
                <a:ea typeface="Calibri"/>
                <a:cs typeface="Arial"/>
              </a:rPr>
              <a:t> è </a:t>
            </a:r>
            <a:r>
              <a:rPr lang="en-US" kern="100" dirty="0" err="1">
                <a:solidFill>
                  <a:srgbClr val="30636E"/>
                </a:solidFill>
                <a:latin typeface="Bahnschrift Light SemiCondensed" panose="020B0502040204020203" pitchFamily="34" charset="0"/>
                <a:ea typeface="Calibri"/>
                <a:cs typeface="Arial"/>
              </a:rPr>
              <a:t>stato</a:t>
            </a:r>
            <a:r>
              <a:rPr lang="en-US" kern="100" dirty="0">
                <a:solidFill>
                  <a:srgbClr val="30636E"/>
                </a:solidFill>
                <a:latin typeface="Bahnschrift Light SemiCondensed" panose="020B0502040204020203" pitchFamily="34" charset="0"/>
                <a:ea typeface="Calibri"/>
                <a:cs typeface="Arial"/>
              </a:rPr>
              <a:t> </a:t>
            </a:r>
            <a:r>
              <a:rPr lang="en-US" kern="100" dirty="0" err="1">
                <a:solidFill>
                  <a:srgbClr val="30636E"/>
                </a:solidFill>
                <a:latin typeface="Bahnschrift Light SemiCondensed" panose="020B0502040204020203" pitchFamily="34" charset="0"/>
                <a:ea typeface="Calibri"/>
                <a:cs typeface="Arial"/>
              </a:rPr>
              <a:t>premiato</a:t>
            </a:r>
            <a:r>
              <a:rPr lang="en-US" kern="100" dirty="0">
                <a:solidFill>
                  <a:srgbClr val="30636E"/>
                </a:solidFill>
                <a:latin typeface="Bahnschrift Light SemiCondensed" panose="020B0502040204020203" pitchFamily="34" charset="0"/>
                <a:ea typeface="Calibri"/>
                <a:cs typeface="Arial"/>
              </a:rPr>
              <a:t> </a:t>
            </a:r>
            <a:r>
              <a:rPr lang="en-US" kern="100" dirty="0" err="1">
                <a:solidFill>
                  <a:srgbClr val="30636E"/>
                </a:solidFill>
                <a:latin typeface="Bahnschrift Light SemiCondensed" panose="020B0502040204020203" pitchFamily="34" charset="0"/>
                <a:ea typeface="Calibri"/>
                <a:cs typeface="Arial"/>
              </a:rPr>
              <a:t>dall’</a:t>
            </a:r>
            <a:r>
              <a:rPr lang="en-US" b="1" kern="100" dirty="0" err="1">
                <a:solidFill>
                  <a:srgbClr val="30636E"/>
                </a:solidFill>
                <a:latin typeface="Bahnschrift Light SemiCondensed" panose="020B0502040204020203" pitchFamily="34" charset="0"/>
                <a:ea typeface="Calibri"/>
                <a:cs typeface="Arial"/>
              </a:rPr>
              <a:t>Innovation</a:t>
            </a:r>
            <a:r>
              <a:rPr lang="en-US" b="1" kern="100" dirty="0">
                <a:solidFill>
                  <a:srgbClr val="30636E"/>
                </a:solidFill>
                <a:latin typeface="Bahnschrift Light SemiCondensed" panose="020B0502040204020203" pitchFamily="34" charset="0"/>
                <a:ea typeface="Calibri"/>
                <a:cs typeface="Arial"/>
              </a:rPr>
              <a:t> Fund </a:t>
            </a:r>
            <a:r>
              <a:rPr lang="en-US" kern="100" dirty="0" err="1">
                <a:solidFill>
                  <a:srgbClr val="30636E"/>
                </a:solidFill>
                <a:latin typeface="Bahnschrift Light SemiCondensed" panose="020B0502040204020203" pitchFamily="34" charset="0"/>
                <a:ea typeface="Calibri"/>
                <a:cs typeface="Arial"/>
              </a:rPr>
              <a:t>nella</a:t>
            </a:r>
            <a:r>
              <a:rPr lang="en-US" kern="100" dirty="0">
                <a:solidFill>
                  <a:srgbClr val="30636E"/>
                </a:solidFill>
                <a:latin typeface="Bahnschrift Light SemiCondensed" panose="020B0502040204020203" pitchFamily="34" charset="0"/>
                <a:ea typeface="Calibri"/>
                <a:cs typeface="Arial"/>
              </a:rPr>
              <a:t> </a:t>
            </a:r>
            <a:r>
              <a:rPr lang="en-US" kern="100" dirty="0" err="1">
                <a:solidFill>
                  <a:srgbClr val="30636E"/>
                </a:solidFill>
                <a:latin typeface="Bahnschrift Light SemiCondensed" panose="020B0502040204020203" pitchFamily="34" charset="0"/>
                <a:ea typeface="Calibri"/>
                <a:cs typeface="Arial"/>
              </a:rPr>
              <a:t>categoria</a:t>
            </a:r>
            <a:r>
              <a:rPr lang="en-US" kern="100" dirty="0">
                <a:solidFill>
                  <a:srgbClr val="30636E"/>
                </a:solidFill>
                <a:latin typeface="Bahnschrift Light SemiCondensed" panose="020B0502040204020203" pitchFamily="34" charset="0"/>
                <a:ea typeface="Calibri"/>
                <a:cs typeface="Arial"/>
              </a:rPr>
              <a:t> “</a:t>
            </a:r>
            <a:r>
              <a:rPr lang="en-US" kern="100" dirty="0">
                <a:solidFill>
                  <a:srgbClr val="30636E"/>
                </a:solidFill>
                <a:effectLst/>
                <a:latin typeface="Bahnschrift Light SemiCondensed" panose="020B0502040204020203" pitchFamily="34" charset="0"/>
                <a:ea typeface="Calibri"/>
                <a:cs typeface="Arial"/>
              </a:rPr>
              <a:t>medium-scale projects” con un “grant” </a:t>
            </a:r>
            <a:r>
              <a:rPr lang="en-US" kern="100" dirty="0">
                <a:solidFill>
                  <a:srgbClr val="30636E"/>
                </a:solidFill>
                <a:latin typeface="Bahnschrift Light SemiCondensed" panose="020B0502040204020203" pitchFamily="34" charset="0"/>
                <a:ea typeface="Calibri"/>
                <a:cs typeface="Arial"/>
              </a:rPr>
              <a:t>d</a:t>
            </a:r>
            <a:r>
              <a:rPr lang="en-US" kern="100" dirty="0">
                <a:solidFill>
                  <a:srgbClr val="30636E"/>
                </a:solidFill>
                <a:effectLst/>
                <a:latin typeface="Bahnschrift Light SemiCondensed" panose="020B0502040204020203" pitchFamily="34" charset="0"/>
                <a:ea typeface="Calibri"/>
                <a:cs typeface="Arial"/>
              </a:rPr>
              <a:t>i </a:t>
            </a:r>
            <a:r>
              <a:rPr lang="en-US" b="1" kern="100" dirty="0">
                <a:solidFill>
                  <a:srgbClr val="30636E"/>
                </a:solidFill>
                <a:effectLst/>
                <a:latin typeface="Bahnschrift Light SemiCondensed" panose="020B0502040204020203" pitchFamily="34" charset="0"/>
                <a:ea typeface="Calibri"/>
                <a:cs typeface="Arial"/>
              </a:rPr>
              <a:t>23,4M€</a:t>
            </a:r>
            <a:r>
              <a:rPr lang="en-US" kern="100" dirty="0">
                <a:solidFill>
                  <a:srgbClr val="30636E"/>
                </a:solidFill>
                <a:effectLst/>
                <a:latin typeface="Bahnschrift Light SemiCondensed" panose="020B0502040204020203" pitchFamily="34" charset="0"/>
                <a:ea typeface="Calibri"/>
                <a:cs typeface="Arial"/>
              </a:rPr>
              <a:t>.</a:t>
            </a:r>
          </a:p>
          <a:p>
            <a:pPr algn="just">
              <a:lnSpc>
                <a:spcPct val="115000"/>
              </a:lnSpc>
              <a:spcAft>
                <a:spcPts val="800"/>
              </a:spcAft>
            </a:pPr>
            <a:endParaRPr lang="en-US" kern="100" dirty="0">
              <a:solidFill>
                <a:srgbClr val="30636E"/>
              </a:solidFill>
              <a:latin typeface="Bahnschrift Light SemiCondensed" panose="020B0502040204020203" pitchFamily="34" charset="0"/>
              <a:ea typeface="Calibri"/>
              <a:cs typeface="Arial"/>
            </a:endParaRPr>
          </a:p>
          <a:p>
            <a:pPr algn="just">
              <a:lnSpc>
                <a:spcPct val="115000"/>
              </a:lnSpc>
              <a:spcAft>
                <a:spcPts val="800"/>
              </a:spcAft>
            </a:pPr>
            <a:endParaRPr lang="en-US" kern="100" dirty="0">
              <a:solidFill>
                <a:srgbClr val="30636E"/>
              </a:solidFill>
              <a:effectLst/>
              <a:latin typeface="Bahnschrift Light SemiCondensed" panose="020B0502040204020203" pitchFamily="34" charset="0"/>
              <a:ea typeface="Calibri"/>
              <a:cs typeface="Arial"/>
            </a:endParaRPr>
          </a:p>
          <a:p>
            <a:pPr algn="just">
              <a:lnSpc>
                <a:spcPct val="115000"/>
              </a:lnSpc>
              <a:spcAft>
                <a:spcPts val="800"/>
              </a:spcAft>
            </a:pPr>
            <a:r>
              <a:rPr lang="it-IT" b="1" dirty="0" err="1">
                <a:solidFill>
                  <a:srgbClr val="30636E"/>
                </a:solidFill>
                <a:latin typeface="Bahnschrift Light SemiCondensed" panose="020B0502040204020203" pitchFamily="34" charset="0"/>
              </a:rPr>
              <a:t>CapturEste</a:t>
            </a:r>
            <a:r>
              <a:rPr lang="it-IT" dirty="0">
                <a:solidFill>
                  <a:srgbClr val="30636E"/>
                </a:solidFill>
                <a:latin typeface="Bahnschrift Light SemiCondensed" panose="020B0502040204020203" pitchFamily="34" charset="0"/>
              </a:rPr>
              <a:t> ha ricevuto lo </a:t>
            </a:r>
            <a:r>
              <a:rPr lang="it-IT" b="1" i="1" u="sng" dirty="0">
                <a:solidFill>
                  <a:srgbClr val="30636E"/>
                </a:solidFill>
                <a:latin typeface="Bahnschrift Light SemiCondensed" panose="020B0502040204020203" pitchFamily="34" charset="0"/>
              </a:rPr>
              <a:t>STEP </a:t>
            </a:r>
            <a:r>
              <a:rPr lang="it-IT" b="1" i="1" u="sng" dirty="0" err="1">
                <a:solidFill>
                  <a:srgbClr val="30636E"/>
                </a:solidFill>
                <a:latin typeface="Bahnschrift Light SemiCondensed" panose="020B0502040204020203" pitchFamily="34" charset="0"/>
              </a:rPr>
              <a:t>seal</a:t>
            </a:r>
            <a:r>
              <a:rPr lang="it-IT" b="1" i="1" u="sng" dirty="0">
                <a:solidFill>
                  <a:srgbClr val="30636E"/>
                </a:solidFill>
                <a:latin typeface="Bahnschrift Light SemiCondensed" panose="020B0502040204020203" pitchFamily="34" charset="0"/>
              </a:rPr>
              <a:t> </a:t>
            </a:r>
            <a:r>
              <a:rPr lang="it-IT" dirty="0">
                <a:solidFill>
                  <a:srgbClr val="30636E"/>
                </a:solidFill>
                <a:latin typeface="Bahnschrift Light SemiCondensed" panose="020B0502040204020203" pitchFamily="34" charset="0"/>
              </a:rPr>
              <a:t>dall’UE, un riconoscimento assegnato a progetti di alta qualità che contribuiscono al raggiungimento degli obiettivi di decarbonizzazione.</a:t>
            </a:r>
          </a:p>
          <a:p>
            <a:pPr algn="just">
              <a:lnSpc>
                <a:spcPct val="115000"/>
              </a:lnSpc>
              <a:spcAft>
                <a:spcPts val="800"/>
              </a:spcAft>
            </a:pPr>
            <a:r>
              <a:rPr lang="it-IT" dirty="0">
                <a:solidFill>
                  <a:srgbClr val="30636E"/>
                </a:solidFill>
                <a:latin typeface="Bahnschrift Light SemiCondensed" panose="020B0502040204020203" pitchFamily="34" charset="0"/>
              </a:rPr>
              <a:t>Lo </a:t>
            </a:r>
            <a:r>
              <a:rPr lang="it-IT" b="1" i="1" u="sng" dirty="0">
                <a:solidFill>
                  <a:srgbClr val="30636E"/>
                </a:solidFill>
                <a:latin typeface="Bahnschrift Light SemiCondensed" panose="020B0502040204020203" pitchFamily="34" charset="0"/>
              </a:rPr>
              <a:t>STEP </a:t>
            </a:r>
            <a:r>
              <a:rPr lang="it-IT" b="1" i="1" u="sng" dirty="0" err="1">
                <a:solidFill>
                  <a:srgbClr val="30636E"/>
                </a:solidFill>
                <a:latin typeface="Bahnschrift Light SemiCondensed" panose="020B0502040204020203" pitchFamily="34" charset="0"/>
              </a:rPr>
              <a:t>seal</a:t>
            </a:r>
            <a:r>
              <a:rPr lang="it-IT" b="1" i="1" u="sng" dirty="0">
                <a:solidFill>
                  <a:srgbClr val="30636E"/>
                </a:solidFill>
                <a:latin typeface="Bahnschrift Light SemiCondensed" panose="020B0502040204020203" pitchFamily="34" charset="0"/>
              </a:rPr>
              <a:t> </a:t>
            </a:r>
            <a:r>
              <a:rPr lang="it-IT" dirty="0">
                <a:solidFill>
                  <a:srgbClr val="30636E"/>
                </a:solidFill>
                <a:latin typeface="Bahnschrift Light SemiCondensed" panose="020B0502040204020203" pitchFamily="34" charset="0"/>
              </a:rPr>
              <a:t>dovrebbe costituire una via preferenziale per l’accesso ad ulteriori fondi per lo sviluppo del progetto.</a:t>
            </a:r>
            <a:endParaRPr lang="en-US" dirty="0">
              <a:latin typeface="Bahnschrift Light SemiCondensed" panose="020B0502040204020203" pitchFamily="34" charset="0"/>
            </a:endParaRPr>
          </a:p>
        </p:txBody>
      </p:sp>
      <p:sp>
        <p:nvSpPr>
          <p:cNvPr id="3" name="CasellaDiTesto 2">
            <a:extLst>
              <a:ext uri="{FF2B5EF4-FFF2-40B4-BE49-F238E27FC236}">
                <a16:creationId xmlns:a16="http://schemas.microsoft.com/office/drawing/2014/main" id="{38352CA9-BA84-792E-EDA5-CAF66E2939B2}"/>
              </a:ext>
            </a:extLst>
          </p:cNvPr>
          <p:cNvSpPr txBox="1"/>
          <p:nvPr/>
        </p:nvSpPr>
        <p:spPr>
          <a:xfrm>
            <a:off x="127039" y="122867"/>
            <a:ext cx="727859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3200" dirty="0">
                <a:solidFill>
                  <a:srgbClr val="30636E"/>
                </a:solidFill>
                <a:latin typeface="Bahnschrift Light SemiCondensed" panose="020B0502040204020203" pitchFamily="34" charset="0"/>
              </a:rPr>
              <a:t>CAPTURESTE – Contributo Innovation Fund</a:t>
            </a:r>
          </a:p>
        </p:txBody>
      </p:sp>
      <p:sp>
        <p:nvSpPr>
          <p:cNvPr id="4" name="Oval 7">
            <a:extLst>
              <a:ext uri="{FF2B5EF4-FFF2-40B4-BE49-F238E27FC236}">
                <a16:creationId xmlns:a16="http://schemas.microsoft.com/office/drawing/2014/main" id="{F01DF7B4-9742-3030-32CB-F2044EFE1118}"/>
              </a:ext>
            </a:extLst>
          </p:cNvPr>
          <p:cNvSpPr/>
          <p:nvPr/>
        </p:nvSpPr>
        <p:spPr>
          <a:xfrm>
            <a:off x="386569" y="4907800"/>
            <a:ext cx="1076400" cy="1075751"/>
          </a:xfrm>
          <a:prstGeom prst="ellipse">
            <a:avLst/>
          </a:prstGeom>
          <a:solidFill>
            <a:srgbClr val="FFFFFF"/>
          </a:solidFill>
          <a:ln w="38100" cap="flat" cmpd="sng" algn="ctr">
            <a:gradFill flip="none" rotWithShape="1">
              <a:gsLst>
                <a:gs pos="0">
                  <a:srgbClr val="007154">
                    <a:lumMod val="50000"/>
                  </a:srgbClr>
                </a:gs>
                <a:gs pos="100000">
                  <a:srgbClr val="009670"/>
                </a:gs>
              </a:gsLst>
              <a:lin ang="2700000" scaled="1"/>
              <a:tileRect/>
            </a:gradFill>
            <a:prstDash val="solid"/>
          </a:ln>
          <a:effectLst/>
        </p:spPr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0" cap="none" spc="0" normalizeH="0" baseline="0" noProof="0">
                <a:ln>
                  <a:noFill/>
                </a:ln>
                <a:solidFill>
                  <a:srgbClr val="009670"/>
                </a:solidFill>
                <a:effectLst/>
                <a:uLnTx/>
                <a:uFillTx/>
                <a:latin typeface="Bahnschrift Light SemiCondensed"/>
                <a:ea typeface="+mn-ea"/>
                <a:cs typeface="+mn-cs"/>
              </a:rPr>
              <a:t>53</a:t>
            </a:r>
          </a:p>
          <a:p>
            <a:pPr marL="0" marR="0" lvl="0" indent="0" algn="ctr" defTabSz="914400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0" cap="none" spc="0" normalizeH="0" baseline="0" noProof="0">
                <a:ln>
                  <a:noFill/>
                </a:ln>
                <a:solidFill>
                  <a:srgbClr val="30636E"/>
                </a:solidFill>
                <a:effectLst/>
                <a:uLnTx/>
                <a:uFillTx/>
                <a:latin typeface="Bahnschrift Light SemiCondensed"/>
                <a:ea typeface="+mn-ea"/>
                <a:cs typeface="+mn-cs"/>
              </a:rPr>
              <a:t>M€</a:t>
            </a:r>
          </a:p>
        </p:txBody>
      </p:sp>
      <p:sp>
        <p:nvSpPr>
          <p:cNvPr id="5" name="Oval 33">
            <a:extLst>
              <a:ext uri="{FF2B5EF4-FFF2-40B4-BE49-F238E27FC236}">
                <a16:creationId xmlns:a16="http://schemas.microsoft.com/office/drawing/2014/main" id="{DD1CB9BE-E575-EA4C-FB22-F7E07435E7B7}"/>
              </a:ext>
            </a:extLst>
          </p:cNvPr>
          <p:cNvSpPr/>
          <p:nvPr/>
        </p:nvSpPr>
        <p:spPr>
          <a:xfrm>
            <a:off x="1769251" y="4928853"/>
            <a:ext cx="1076400" cy="1075751"/>
          </a:xfrm>
          <a:prstGeom prst="ellipse">
            <a:avLst/>
          </a:prstGeom>
          <a:solidFill>
            <a:srgbClr val="FFFFFF"/>
          </a:solidFill>
          <a:ln w="38100" cap="flat" cmpd="sng" algn="ctr">
            <a:gradFill flip="none" rotWithShape="1">
              <a:gsLst>
                <a:gs pos="0">
                  <a:srgbClr val="007154">
                    <a:lumMod val="50000"/>
                  </a:srgbClr>
                </a:gs>
                <a:gs pos="100000">
                  <a:srgbClr val="009670"/>
                </a:gs>
              </a:gsLst>
              <a:lin ang="2700000" scaled="1"/>
              <a:tileRect/>
            </a:gradFill>
            <a:prstDash val="solid"/>
          </a:ln>
          <a:effectLst/>
        </p:spPr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400" kern="0">
                <a:solidFill>
                  <a:srgbClr val="009670"/>
                </a:solidFill>
                <a:latin typeface="Bahnschrift Light SemiCondensed"/>
              </a:rPr>
              <a:t>24</a:t>
            </a:r>
            <a:endParaRPr kumimoji="0" lang="en-US" sz="2400" b="0" i="0" u="none" strike="noStrike" kern="0" cap="none" spc="0" normalizeH="0" baseline="0" noProof="0">
              <a:ln>
                <a:noFill/>
              </a:ln>
              <a:solidFill>
                <a:srgbClr val="009670"/>
              </a:solidFill>
              <a:effectLst/>
              <a:uLnTx/>
              <a:uFillTx/>
              <a:latin typeface="Bahnschrift Light SemiCondensed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0" cap="none" spc="0" normalizeH="0" baseline="0" noProof="0">
                <a:ln>
                  <a:noFill/>
                </a:ln>
                <a:solidFill>
                  <a:srgbClr val="30636E"/>
                </a:solidFill>
                <a:effectLst/>
                <a:uLnTx/>
                <a:uFillTx/>
                <a:latin typeface="Bahnschrift Light SemiCondensed"/>
                <a:ea typeface="+mn-ea"/>
                <a:cs typeface="+mn-cs"/>
              </a:rPr>
              <a:t>M€</a:t>
            </a:r>
            <a:endParaRPr lang="en-US" sz="1600" b="0" i="0" u="none" strike="noStrike" kern="0" cap="none" spc="0" normalizeH="0" baseline="0" noProof="0">
              <a:ln>
                <a:noFill/>
              </a:ln>
              <a:solidFill>
                <a:srgbClr val="30636E"/>
              </a:solidFill>
              <a:effectLst/>
              <a:uLnTx/>
              <a:uFillTx/>
              <a:latin typeface="Bahnschrift Light SemiCondensed"/>
            </a:endParaRPr>
          </a:p>
        </p:txBody>
      </p:sp>
      <p:sp>
        <p:nvSpPr>
          <p:cNvPr id="6" name="AutoShape 3">
            <a:extLst>
              <a:ext uri="{FF2B5EF4-FFF2-40B4-BE49-F238E27FC236}">
                <a16:creationId xmlns:a16="http://schemas.microsoft.com/office/drawing/2014/main" id="{A9623AF7-093A-43CD-D739-F9A9F3762A9F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1848701" y="4794608"/>
            <a:ext cx="874854" cy="9339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30636E"/>
              </a:solidFill>
              <a:effectLst/>
              <a:uLnTx/>
              <a:uFillTx/>
              <a:latin typeface="Bahnschrift Light SemiCondensed"/>
              <a:ea typeface="+mn-ea"/>
              <a:cs typeface="+mn-cs"/>
            </a:endParaRPr>
          </a:p>
        </p:txBody>
      </p:sp>
      <p:sp>
        <p:nvSpPr>
          <p:cNvPr id="7" name="TextBox 51">
            <a:extLst>
              <a:ext uri="{FF2B5EF4-FFF2-40B4-BE49-F238E27FC236}">
                <a16:creationId xmlns:a16="http://schemas.microsoft.com/office/drawing/2014/main" id="{D3FDCBA5-52A2-4445-123C-F7A6609229ED}"/>
              </a:ext>
            </a:extLst>
          </p:cNvPr>
          <p:cNvSpPr txBox="1"/>
          <p:nvPr/>
        </p:nvSpPr>
        <p:spPr>
          <a:xfrm>
            <a:off x="2990579" y="4909697"/>
            <a:ext cx="1142056" cy="1113341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it-IT" b="1">
                <a:solidFill>
                  <a:srgbClr val="2D716B"/>
                </a:solidFill>
                <a:latin typeface="Bahnschrift Light SemiCondensed"/>
              </a:rPr>
              <a:t>Innovation Fund</a:t>
            </a:r>
            <a:endParaRPr kumimoji="0" lang="en-US" sz="1800" b="1" i="0" u="none" strike="noStrike" kern="1200" cap="none" spc="0" normalizeH="0" baseline="30000" noProof="0">
              <a:ln>
                <a:noFill/>
              </a:ln>
              <a:solidFill>
                <a:srgbClr val="2D716B"/>
              </a:solidFill>
              <a:effectLst/>
              <a:uLnTx/>
              <a:uFillTx/>
              <a:latin typeface="Bahnschrift Light SemiCondensed"/>
              <a:ea typeface="+mn-ea"/>
              <a:cs typeface="+mn-cs"/>
            </a:endParaRP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89AC776C-1C85-6798-E030-8EFE47CFDC41}"/>
              </a:ext>
            </a:extLst>
          </p:cNvPr>
          <p:cNvSpPr/>
          <p:nvPr/>
        </p:nvSpPr>
        <p:spPr>
          <a:xfrm>
            <a:off x="5226236" y="4654309"/>
            <a:ext cx="768438" cy="753014"/>
          </a:xfrm>
          <a:prstGeom prst="ellipse">
            <a:avLst/>
          </a:prstGeom>
          <a:solidFill>
            <a:srgbClr val="FFFFFF"/>
          </a:solidFill>
          <a:ln w="38100" cap="flat" cmpd="sng" algn="ctr">
            <a:gradFill flip="none" rotWithShape="1">
              <a:gsLst>
                <a:gs pos="0">
                  <a:srgbClr val="30636E"/>
                </a:gs>
                <a:gs pos="100000">
                  <a:srgbClr val="76C3EA"/>
                </a:gs>
              </a:gsLst>
              <a:lin ang="2700000" scaled="1"/>
              <a:tileRect/>
            </a:gradFill>
            <a:prstDash val="solid"/>
          </a:ln>
          <a:effectLst/>
        </p:spPr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400" kern="0">
                <a:solidFill>
                  <a:srgbClr val="009670"/>
                </a:solidFill>
                <a:latin typeface="Bahnschrift Light SemiCondensed"/>
              </a:rPr>
              <a:t>22</a:t>
            </a:r>
            <a:endParaRPr kumimoji="0" lang="en-US" sz="2400" b="0" i="0" u="none" strike="noStrike" kern="0" cap="none" spc="0" normalizeH="0" baseline="0" noProof="0">
              <a:ln>
                <a:noFill/>
              </a:ln>
              <a:solidFill>
                <a:srgbClr val="009670"/>
              </a:solidFill>
              <a:effectLst/>
              <a:uLnTx/>
              <a:uFillTx/>
              <a:latin typeface="Bahnschrift Light SemiCondensed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0" cap="none" spc="0" normalizeH="0" baseline="0" noProof="0">
                <a:ln>
                  <a:noFill/>
                </a:ln>
                <a:solidFill>
                  <a:srgbClr val="30636E"/>
                </a:solidFill>
                <a:effectLst/>
                <a:uLnTx/>
                <a:uFillTx/>
                <a:latin typeface="Bahnschrift Light SemiCondensed"/>
                <a:ea typeface="+mn-ea"/>
                <a:cs typeface="+mn-cs"/>
              </a:rPr>
              <a:t>M€</a:t>
            </a:r>
            <a:endParaRPr lang="en-US" sz="1600" b="0" i="0" u="none" strike="noStrike" kern="0" cap="none" spc="0" normalizeH="0" baseline="0" noProof="0">
              <a:ln>
                <a:noFill/>
              </a:ln>
              <a:solidFill>
                <a:srgbClr val="30636E"/>
              </a:solidFill>
              <a:effectLst/>
              <a:uLnTx/>
              <a:uFillTx/>
              <a:latin typeface="Bahnschrift Light SemiCondensed"/>
            </a:endParaRPr>
          </a:p>
        </p:txBody>
      </p:sp>
      <p:cxnSp>
        <p:nvCxnSpPr>
          <p:cNvPr id="9" name="Connettore 2 8">
            <a:extLst>
              <a:ext uri="{FF2B5EF4-FFF2-40B4-BE49-F238E27FC236}">
                <a16:creationId xmlns:a16="http://schemas.microsoft.com/office/drawing/2014/main" id="{CEF400BD-076A-65F7-7D6D-5D6040DBA361}"/>
              </a:ext>
            </a:extLst>
          </p:cNvPr>
          <p:cNvCxnSpPr>
            <a:cxnSpLocks/>
          </p:cNvCxnSpPr>
          <p:nvPr/>
        </p:nvCxnSpPr>
        <p:spPr>
          <a:xfrm flipV="1">
            <a:off x="4207034" y="5030816"/>
            <a:ext cx="1019202" cy="435552"/>
          </a:xfrm>
          <a:prstGeom prst="straightConnector1">
            <a:avLst/>
          </a:prstGeom>
          <a:solidFill>
            <a:srgbClr val="FFFFFF"/>
          </a:solidFill>
          <a:ln w="38100" cap="flat" cmpd="sng" algn="ctr">
            <a:gradFill flip="none" rotWithShape="1">
              <a:gsLst>
                <a:gs pos="0">
                  <a:srgbClr val="007154">
                    <a:lumMod val="50000"/>
                  </a:srgbClr>
                </a:gs>
                <a:gs pos="100000">
                  <a:srgbClr val="00B0F0"/>
                </a:gs>
              </a:gsLst>
              <a:lin ang="2700000" scaled="1"/>
              <a:tileRect/>
            </a:gradFill>
            <a:prstDash val="solid"/>
            <a:tailEnd type="triangle"/>
          </a:ln>
          <a:effectLst/>
        </p:spPr>
      </p:cxnSp>
      <p:cxnSp>
        <p:nvCxnSpPr>
          <p:cNvPr id="10" name="Connettore 2 9">
            <a:extLst>
              <a:ext uri="{FF2B5EF4-FFF2-40B4-BE49-F238E27FC236}">
                <a16:creationId xmlns:a16="http://schemas.microsoft.com/office/drawing/2014/main" id="{2649DA27-D1DC-2007-BD9F-E51521706A93}"/>
              </a:ext>
            </a:extLst>
          </p:cNvPr>
          <p:cNvCxnSpPr>
            <a:cxnSpLocks/>
            <a:endCxn id="11" idx="2"/>
          </p:cNvCxnSpPr>
          <p:nvPr/>
        </p:nvCxnSpPr>
        <p:spPr>
          <a:xfrm>
            <a:off x="4207034" y="5466368"/>
            <a:ext cx="1019202" cy="435295"/>
          </a:xfrm>
          <a:prstGeom prst="straightConnector1">
            <a:avLst/>
          </a:prstGeom>
          <a:solidFill>
            <a:srgbClr val="FFFFFF"/>
          </a:solidFill>
          <a:ln w="38100" cap="flat" cmpd="sng" algn="ctr">
            <a:gradFill flip="none" rotWithShape="1">
              <a:gsLst>
                <a:gs pos="0">
                  <a:srgbClr val="007154">
                    <a:lumMod val="50000"/>
                  </a:srgbClr>
                </a:gs>
                <a:gs pos="100000">
                  <a:srgbClr val="00B0F0"/>
                </a:gs>
              </a:gsLst>
              <a:lin ang="2700000" scaled="1"/>
              <a:tileRect/>
            </a:gradFill>
            <a:prstDash val="solid"/>
            <a:headEnd type="oval"/>
            <a:tailEnd type="triangle"/>
          </a:ln>
          <a:effectLst/>
        </p:spPr>
      </p:cxnSp>
      <p:sp>
        <p:nvSpPr>
          <p:cNvPr id="11" name="Oval 7">
            <a:extLst>
              <a:ext uri="{FF2B5EF4-FFF2-40B4-BE49-F238E27FC236}">
                <a16:creationId xmlns:a16="http://schemas.microsoft.com/office/drawing/2014/main" id="{4C3542D3-781E-3B55-42D2-FA2068309FCD}"/>
              </a:ext>
            </a:extLst>
          </p:cNvPr>
          <p:cNvSpPr/>
          <p:nvPr/>
        </p:nvSpPr>
        <p:spPr>
          <a:xfrm>
            <a:off x="5226236" y="5525156"/>
            <a:ext cx="768438" cy="753014"/>
          </a:xfrm>
          <a:prstGeom prst="ellipse">
            <a:avLst/>
          </a:prstGeom>
          <a:solidFill>
            <a:srgbClr val="FFFFFF"/>
          </a:solidFill>
          <a:ln w="38100" cap="flat" cmpd="sng" algn="ctr">
            <a:gradFill flip="none" rotWithShape="1">
              <a:gsLst>
                <a:gs pos="0">
                  <a:srgbClr val="30636E"/>
                </a:gs>
                <a:gs pos="100000">
                  <a:srgbClr val="76C3EA"/>
                </a:gs>
              </a:gsLst>
              <a:lin ang="2700000" scaled="1"/>
              <a:tileRect/>
            </a:gradFill>
            <a:prstDash val="solid"/>
          </a:ln>
          <a:effectLst/>
        </p:spPr>
        <p:txBody>
          <a:bodyPr lIns="0" tIns="0" rIns="0" bIns="0" rtlCol="0" anchor="ctr"/>
          <a:lstStyle/>
          <a:p>
            <a:pPr algn="ctr">
              <a:lnSpc>
                <a:spcPct val="95000"/>
              </a:lnSpc>
            </a:pPr>
            <a:r>
              <a:rPr lang="en-US" sz="2400" kern="0">
                <a:solidFill>
                  <a:srgbClr val="009670"/>
                </a:solidFill>
                <a:latin typeface="Bahnschrift Light SemiCondensed"/>
              </a:rPr>
              <a:t>2</a:t>
            </a:r>
          </a:p>
          <a:p>
            <a:pPr marL="0" marR="0" lvl="0" indent="0" algn="ctr" defTabSz="914400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0" cap="none" spc="0" normalizeH="0" baseline="0" noProof="0">
                <a:ln>
                  <a:noFill/>
                </a:ln>
                <a:solidFill>
                  <a:srgbClr val="30636E"/>
                </a:solidFill>
                <a:effectLst/>
                <a:uLnTx/>
                <a:uFillTx/>
                <a:latin typeface="Bahnschrift Light SemiCondensed"/>
                <a:ea typeface="+mn-ea"/>
                <a:cs typeface="+mn-cs"/>
              </a:rPr>
              <a:t>M€</a:t>
            </a:r>
          </a:p>
        </p:txBody>
      </p:sp>
      <p:sp>
        <p:nvSpPr>
          <p:cNvPr id="12" name="CasellaDiTesto 11">
            <a:extLst>
              <a:ext uri="{FF2B5EF4-FFF2-40B4-BE49-F238E27FC236}">
                <a16:creationId xmlns:a16="http://schemas.microsoft.com/office/drawing/2014/main" id="{319ADEF0-18FE-A804-41DE-BBCE7146F066}"/>
              </a:ext>
            </a:extLst>
          </p:cNvPr>
          <p:cNvSpPr txBox="1"/>
          <p:nvPr/>
        </p:nvSpPr>
        <p:spPr>
          <a:xfrm>
            <a:off x="6101724" y="4807592"/>
            <a:ext cx="1147864" cy="553998"/>
          </a:xfrm>
          <a:prstGeom prst="rect">
            <a:avLst/>
          </a:prstGeom>
          <a:noFill/>
        </p:spPr>
        <p:txBody>
          <a:bodyPr wrap="square" rtlCol="0" anchor="ctr" anchorCtr="0">
            <a:noAutofit/>
          </a:bodyPr>
          <a:lstStyle/>
          <a:p>
            <a:r>
              <a:rPr kumimoji="0" lang="it-IT" sz="1800" b="0" i="0" u="none" strike="noStrike" kern="1200" cap="none" spc="0" normalizeH="0" baseline="30000" noProof="0">
                <a:ln>
                  <a:noFill/>
                </a:ln>
                <a:solidFill>
                  <a:srgbClr val="30636E"/>
                </a:solidFill>
                <a:effectLst/>
                <a:uLnTx/>
                <a:uFillTx/>
                <a:latin typeface="Bahnschrift Light SemiCondensed"/>
                <a:ea typeface="+mn-ea"/>
                <a:cs typeface="+mn-cs"/>
              </a:rPr>
              <a:t>A copertura</a:t>
            </a:r>
            <a:r>
              <a:rPr lang="it-IT" baseline="30000">
                <a:solidFill>
                  <a:srgbClr val="30636E"/>
                </a:solidFill>
                <a:latin typeface="Bahnschrift Light SemiCondensed"/>
              </a:rPr>
              <a:t> CAPEX</a:t>
            </a:r>
            <a:endParaRPr lang="it-IT"/>
          </a:p>
        </p:txBody>
      </p:sp>
      <p:sp>
        <p:nvSpPr>
          <p:cNvPr id="13" name="CasellaDiTesto 12">
            <a:extLst>
              <a:ext uri="{FF2B5EF4-FFF2-40B4-BE49-F238E27FC236}">
                <a16:creationId xmlns:a16="http://schemas.microsoft.com/office/drawing/2014/main" id="{ED047E8E-A30E-A1BD-58F2-F51E64E3F078}"/>
              </a:ext>
            </a:extLst>
          </p:cNvPr>
          <p:cNvSpPr txBox="1"/>
          <p:nvPr/>
        </p:nvSpPr>
        <p:spPr>
          <a:xfrm>
            <a:off x="6099475" y="5694959"/>
            <a:ext cx="1147864" cy="553998"/>
          </a:xfrm>
          <a:prstGeom prst="rect">
            <a:avLst/>
          </a:prstGeom>
          <a:noFill/>
        </p:spPr>
        <p:txBody>
          <a:bodyPr wrap="square" rtlCol="0" anchor="ctr" anchorCtr="0">
            <a:noAutofit/>
          </a:bodyPr>
          <a:lstStyle/>
          <a:p>
            <a:r>
              <a:rPr kumimoji="0" lang="it-IT" sz="1800" b="0" i="0" u="none" strike="noStrike" kern="1200" cap="none" spc="0" normalizeH="0" baseline="30000" noProof="0">
                <a:ln>
                  <a:noFill/>
                </a:ln>
                <a:solidFill>
                  <a:srgbClr val="30636E"/>
                </a:solidFill>
                <a:effectLst/>
                <a:uLnTx/>
                <a:uFillTx/>
                <a:latin typeface="Bahnschrift Light SemiCondensed"/>
                <a:ea typeface="+mn-ea"/>
                <a:cs typeface="+mn-cs"/>
              </a:rPr>
              <a:t>A copertura</a:t>
            </a:r>
            <a:r>
              <a:rPr lang="it-IT" baseline="30000">
                <a:solidFill>
                  <a:srgbClr val="30636E"/>
                </a:solidFill>
                <a:latin typeface="Bahnschrift Light SemiCondensed"/>
              </a:rPr>
              <a:t> OPEX</a:t>
            </a:r>
            <a:endParaRPr lang="it-IT"/>
          </a:p>
        </p:txBody>
      </p:sp>
      <p:grpSp>
        <p:nvGrpSpPr>
          <p:cNvPr id="14" name="Gruppo 13">
            <a:extLst>
              <a:ext uri="{FF2B5EF4-FFF2-40B4-BE49-F238E27FC236}">
                <a16:creationId xmlns:a16="http://schemas.microsoft.com/office/drawing/2014/main" id="{C87E9D68-1677-F963-247D-3298E54B8D6A}"/>
              </a:ext>
            </a:extLst>
          </p:cNvPr>
          <p:cNvGrpSpPr/>
          <p:nvPr/>
        </p:nvGrpSpPr>
        <p:grpSpPr>
          <a:xfrm>
            <a:off x="7055767" y="5615626"/>
            <a:ext cx="640817" cy="632726"/>
            <a:chOff x="6879085" y="3888728"/>
            <a:chExt cx="640817" cy="632726"/>
          </a:xfrm>
        </p:grpSpPr>
        <p:sp>
          <p:nvSpPr>
            <p:cNvPr id="15" name="Oval 14">
              <a:extLst>
                <a:ext uri="{FF2B5EF4-FFF2-40B4-BE49-F238E27FC236}">
                  <a16:creationId xmlns:a16="http://schemas.microsoft.com/office/drawing/2014/main" id="{055C7872-ADA5-A2EB-9FB7-F29B399570FB}"/>
                </a:ext>
              </a:extLst>
            </p:cNvPr>
            <p:cNvSpPr>
              <a:spLocks/>
            </p:cNvSpPr>
            <p:nvPr>
              <p:custDataLst>
                <p:tags r:id="rId2"/>
              </p:custDataLst>
            </p:nvPr>
          </p:nvSpPr>
          <p:spPr>
            <a:xfrm>
              <a:off x="6879085" y="3888728"/>
              <a:ext cx="633336" cy="632726"/>
            </a:xfrm>
            <a:prstGeom prst="ellipse">
              <a:avLst/>
            </a:prstGeom>
            <a:solidFill>
              <a:srgbClr val="FFFFFF"/>
            </a:solidFill>
            <a:ln w="25400" cap="flat" cmpd="sng" algn="ctr">
              <a:gradFill flip="none" rotWithShape="1">
                <a:gsLst>
                  <a:gs pos="0">
                    <a:srgbClr val="007154">
                      <a:lumMod val="50000"/>
                    </a:srgbClr>
                  </a:gs>
                  <a:gs pos="100000">
                    <a:srgbClr val="009670"/>
                  </a:gs>
                </a:gsLst>
                <a:lin ang="2700000" scaled="1"/>
                <a:tileRect/>
              </a:gradFill>
              <a:prstDash val="solid"/>
            </a:ln>
            <a:effectLst/>
          </p:spPr>
          <p:txBody>
            <a:bodyPr lIns="0" tIns="0" rIns="0" bIns="0" rtlCol="0" anchor="ctr"/>
            <a:lstStyle/>
            <a:p>
              <a:pPr algn="ctr">
                <a:lnSpc>
                  <a:spcPct val="95000"/>
                </a:lnSpc>
              </a:pPr>
              <a:endParaRPr lang="it-IT" sz="2400" kern="0">
                <a:solidFill>
                  <a:srgbClr val="009670"/>
                </a:solidFill>
                <a:latin typeface="Bahnschrift Light SemiCondensed"/>
              </a:endParaRPr>
            </a:p>
          </p:txBody>
        </p:sp>
        <p:grpSp>
          <p:nvGrpSpPr>
            <p:cNvPr id="16" name="bcgIcons_CO2 Emissions ">
              <a:extLst>
                <a:ext uri="{FF2B5EF4-FFF2-40B4-BE49-F238E27FC236}">
                  <a16:creationId xmlns:a16="http://schemas.microsoft.com/office/drawing/2014/main" id="{E01E8366-79FB-E229-229A-BADD7C203C89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6943462" y="3898179"/>
              <a:ext cx="576440" cy="576440"/>
              <a:chOff x="5273675" y="2606675"/>
              <a:chExt cx="1644650" cy="1644650"/>
            </a:xfrm>
          </p:grpSpPr>
          <p:sp>
            <p:nvSpPr>
              <p:cNvPr id="17" name="AutoShape 3">
                <a:extLst>
                  <a:ext uri="{FF2B5EF4-FFF2-40B4-BE49-F238E27FC236}">
                    <a16:creationId xmlns:a16="http://schemas.microsoft.com/office/drawing/2014/main" id="{68810E55-EB6A-1FB7-6C7D-95F185D209B8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5273675" y="2606675"/>
                <a:ext cx="1644650" cy="164465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t-IT"/>
              </a:p>
            </p:txBody>
          </p:sp>
          <p:grpSp>
            <p:nvGrpSpPr>
              <p:cNvPr id="18" name="Group 32">
                <a:extLst>
                  <a:ext uri="{FF2B5EF4-FFF2-40B4-BE49-F238E27FC236}">
                    <a16:creationId xmlns:a16="http://schemas.microsoft.com/office/drawing/2014/main" id="{CE83D770-6F57-8C2E-5F87-EC9ACC07D0D8}"/>
                  </a:ext>
                </a:extLst>
              </p:cNvPr>
              <p:cNvGrpSpPr>
                <a:grpSpLocks/>
              </p:cNvGrpSpPr>
              <p:nvPr/>
            </p:nvGrpSpPr>
            <p:grpSpPr>
              <a:xfrm>
                <a:off x="5772150" y="2773910"/>
                <a:ext cx="704408" cy="1307553"/>
                <a:chOff x="5772150" y="2773910"/>
                <a:chExt cx="704408" cy="1307553"/>
              </a:xfrm>
            </p:grpSpPr>
            <p:sp>
              <p:nvSpPr>
                <p:cNvPr id="19" name="Freeform 10">
                  <a:extLst>
                    <a:ext uri="{FF2B5EF4-FFF2-40B4-BE49-F238E27FC236}">
                      <a16:creationId xmlns:a16="http://schemas.microsoft.com/office/drawing/2014/main" id="{29EE1173-4275-347B-020F-BCB63945BEA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772150" y="3270250"/>
                  <a:ext cx="403225" cy="811213"/>
                </a:xfrm>
                <a:custGeom>
                  <a:avLst/>
                  <a:gdLst>
                    <a:gd name="connsiteX0" fmla="*/ 44450 w 403225"/>
                    <a:gd name="connsiteY0" fmla="*/ 174625 h 811213"/>
                    <a:gd name="connsiteX1" fmla="*/ 60325 w 403225"/>
                    <a:gd name="connsiteY1" fmla="*/ 174625 h 811213"/>
                    <a:gd name="connsiteX2" fmla="*/ 76200 w 403225"/>
                    <a:gd name="connsiteY2" fmla="*/ 174625 h 811213"/>
                    <a:gd name="connsiteX3" fmla="*/ 327025 w 403225"/>
                    <a:gd name="connsiteY3" fmla="*/ 174625 h 811213"/>
                    <a:gd name="connsiteX4" fmla="*/ 342900 w 403225"/>
                    <a:gd name="connsiteY4" fmla="*/ 174625 h 811213"/>
                    <a:gd name="connsiteX5" fmla="*/ 358775 w 403225"/>
                    <a:gd name="connsiteY5" fmla="*/ 174625 h 811213"/>
                    <a:gd name="connsiteX6" fmla="*/ 403225 w 403225"/>
                    <a:gd name="connsiteY6" fmla="*/ 811213 h 811213"/>
                    <a:gd name="connsiteX7" fmla="*/ 387350 w 403225"/>
                    <a:gd name="connsiteY7" fmla="*/ 811213 h 811213"/>
                    <a:gd name="connsiteX8" fmla="*/ 371475 w 403225"/>
                    <a:gd name="connsiteY8" fmla="*/ 811213 h 811213"/>
                    <a:gd name="connsiteX9" fmla="*/ 31750 w 403225"/>
                    <a:gd name="connsiteY9" fmla="*/ 811213 h 811213"/>
                    <a:gd name="connsiteX10" fmla="*/ 15875 w 403225"/>
                    <a:gd name="connsiteY10" fmla="*/ 811213 h 811213"/>
                    <a:gd name="connsiteX11" fmla="*/ 0 w 403225"/>
                    <a:gd name="connsiteY11" fmla="*/ 811213 h 811213"/>
                    <a:gd name="connsiteX12" fmla="*/ 70997 w 403225"/>
                    <a:gd name="connsiteY12" fmla="*/ 0 h 811213"/>
                    <a:gd name="connsiteX13" fmla="*/ 331514 w 403225"/>
                    <a:gd name="connsiteY13" fmla="*/ 0 h 811213"/>
                    <a:gd name="connsiteX14" fmla="*/ 347260 w 403225"/>
                    <a:gd name="connsiteY14" fmla="*/ 14154 h 811213"/>
                    <a:gd name="connsiteX15" fmla="*/ 350838 w 403225"/>
                    <a:gd name="connsiteY15" fmla="*/ 58738 h 811213"/>
                    <a:gd name="connsiteX16" fmla="*/ 335093 w 403225"/>
                    <a:gd name="connsiteY16" fmla="*/ 58738 h 811213"/>
                    <a:gd name="connsiteX17" fmla="*/ 319347 w 403225"/>
                    <a:gd name="connsiteY17" fmla="*/ 58738 h 811213"/>
                    <a:gd name="connsiteX18" fmla="*/ 83879 w 403225"/>
                    <a:gd name="connsiteY18" fmla="*/ 58738 h 811213"/>
                    <a:gd name="connsiteX19" fmla="*/ 68134 w 403225"/>
                    <a:gd name="connsiteY19" fmla="*/ 58738 h 811213"/>
                    <a:gd name="connsiteX20" fmla="*/ 52388 w 403225"/>
                    <a:gd name="connsiteY20" fmla="*/ 58738 h 811213"/>
                    <a:gd name="connsiteX21" fmla="*/ 55251 w 403225"/>
                    <a:gd name="connsiteY21" fmla="*/ 14154 h 811213"/>
                    <a:gd name="connsiteX22" fmla="*/ 70997 w 403225"/>
                    <a:gd name="connsiteY22" fmla="*/ 0 h 81121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</a:cxnLst>
                  <a:rect l="l" t="t" r="r" b="b"/>
                  <a:pathLst>
                    <a:path w="403225" h="811213">
                      <a:moveTo>
                        <a:pt x="44450" y="174625"/>
                      </a:moveTo>
                      <a:lnTo>
                        <a:pt x="60325" y="174625"/>
                      </a:lnTo>
                      <a:lnTo>
                        <a:pt x="76200" y="174625"/>
                      </a:lnTo>
                      <a:lnTo>
                        <a:pt x="327025" y="174625"/>
                      </a:lnTo>
                      <a:lnTo>
                        <a:pt x="342900" y="174625"/>
                      </a:lnTo>
                      <a:lnTo>
                        <a:pt x="358775" y="174625"/>
                      </a:lnTo>
                      <a:lnTo>
                        <a:pt x="403225" y="811213"/>
                      </a:lnTo>
                      <a:lnTo>
                        <a:pt x="387350" y="811213"/>
                      </a:lnTo>
                      <a:lnTo>
                        <a:pt x="371475" y="811213"/>
                      </a:lnTo>
                      <a:lnTo>
                        <a:pt x="31750" y="811213"/>
                      </a:lnTo>
                      <a:lnTo>
                        <a:pt x="15875" y="811213"/>
                      </a:lnTo>
                      <a:lnTo>
                        <a:pt x="0" y="811213"/>
                      </a:lnTo>
                      <a:close/>
                      <a:moveTo>
                        <a:pt x="70997" y="0"/>
                      </a:moveTo>
                      <a:cubicBezTo>
                        <a:pt x="70997" y="0"/>
                        <a:pt x="70997" y="0"/>
                        <a:pt x="331514" y="0"/>
                      </a:cubicBezTo>
                      <a:cubicBezTo>
                        <a:pt x="340103" y="0"/>
                        <a:pt x="347260" y="6369"/>
                        <a:pt x="347260" y="14154"/>
                      </a:cubicBezTo>
                      <a:cubicBezTo>
                        <a:pt x="347260" y="14154"/>
                        <a:pt x="347260" y="14154"/>
                        <a:pt x="350838" y="58738"/>
                      </a:cubicBezTo>
                      <a:cubicBezTo>
                        <a:pt x="350838" y="58738"/>
                        <a:pt x="350838" y="58738"/>
                        <a:pt x="335093" y="58738"/>
                      </a:cubicBezTo>
                      <a:cubicBezTo>
                        <a:pt x="335093" y="58738"/>
                        <a:pt x="335093" y="58738"/>
                        <a:pt x="319347" y="58738"/>
                      </a:cubicBezTo>
                      <a:cubicBezTo>
                        <a:pt x="319347" y="58738"/>
                        <a:pt x="319347" y="58738"/>
                        <a:pt x="83879" y="58738"/>
                      </a:cubicBezTo>
                      <a:lnTo>
                        <a:pt x="68134" y="58738"/>
                      </a:lnTo>
                      <a:cubicBezTo>
                        <a:pt x="68134" y="58738"/>
                        <a:pt x="68134" y="58738"/>
                        <a:pt x="52388" y="58738"/>
                      </a:cubicBezTo>
                      <a:cubicBezTo>
                        <a:pt x="52388" y="58738"/>
                        <a:pt x="52388" y="58738"/>
                        <a:pt x="55251" y="14154"/>
                      </a:cubicBezTo>
                      <a:cubicBezTo>
                        <a:pt x="55967" y="6369"/>
                        <a:pt x="62408" y="0"/>
                        <a:pt x="70997" y="0"/>
                      </a:cubicBezTo>
                      <a:close/>
                    </a:path>
                  </a:pathLst>
                </a:custGeom>
                <a:solidFill>
                  <a:srgbClr val="0070C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it-IT"/>
                </a:p>
              </p:txBody>
            </p:sp>
            <p:sp>
              <p:nvSpPr>
                <p:cNvPr id="20" name="Freeform 12">
                  <a:extLst>
                    <a:ext uri="{FF2B5EF4-FFF2-40B4-BE49-F238E27FC236}">
                      <a16:creationId xmlns:a16="http://schemas.microsoft.com/office/drawing/2014/main" id="{33131CA6-941E-BF4B-6E94-7A221398051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800724" y="2773910"/>
                  <a:ext cx="675834" cy="639216"/>
                </a:xfrm>
                <a:custGeom>
                  <a:avLst/>
                  <a:gdLst>
                    <a:gd name="connsiteX0" fmla="*/ 15698 w 675834"/>
                    <a:gd name="connsiteY0" fmla="*/ 586828 h 639216"/>
                    <a:gd name="connsiteX1" fmla="*/ 22121 w 675834"/>
                    <a:gd name="connsiteY1" fmla="*/ 586828 h 639216"/>
                    <a:gd name="connsiteX2" fmla="*/ 37819 w 675834"/>
                    <a:gd name="connsiteY2" fmla="*/ 586828 h 639216"/>
                    <a:gd name="connsiteX3" fmla="*/ 53517 w 675834"/>
                    <a:gd name="connsiteY3" fmla="*/ 586828 h 639216"/>
                    <a:gd name="connsiteX4" fmla="*/ 292558 w 675834"/>
                    <a:gd name="connsiteY4" fmla="*/ 586828 h 639216"/>
                    <a:gd name="connsiteX5" fmla="*/ 308257 w 675834"/>
                    <a:gd name="connsiteY5" fmla="*/ 586828 h 639216"/>
                    <a:gd name="connsiteX6" fmla="*/ 323955 w 675834"/>
                    <a:gd name="connsiteY6" fmla="*/ 586828 h 639216"/>
                    <a:gd name="connsiteX7" fmla="*/ 330377 w 675834"/>
                    <a:gd name="connsiteY7" fmla="*/ 586828 h 639216"/>
                    <a:gd name="connsiteX8" fmla="*/ 346075 w 675834"/>
                    <a:gd name="connsiteY8" fmla="*/ 602403 h 639216"/>
                    <a:gd name="connsiteX9" fmla="*/ 346075 w 675834"/>
                    <a:gd name="connsiteY9" fmla="*/ 623641 h 639216"/>
                    <a:gd name="connsiteX10" fmla="*/ 330377 w 675834"/>
                    <a:gd name="connsiteY10" fmla="*/ 639216 h 639216"/>
                    <a:gd name="connsiteX11" fmla="*/ 327523 w 675834"/>
                    <a:gd name="connsiteY11" fmla="*/ 639216 h 639216"/>
                    <a:gd name="connsiteX12" fmla="*/ 311825 w 675834"/>
                    <a:gd name="connsiteY12" fmla="*/ 639216 h 639216"/>
                    <a:gd name="connsiteX13" fmla="*/ 296126 w 675834"/>
                    <a:gd name="connsiteY13" fmla="*/ 639216 h 639216"/>
                    <a:gd name="connsiteX14" fmla="*/ 49236 w 675834"/>
                    <a:gd name="connsiteY14" fmla="*/ 639216 h 639216"/>
                    <a:gd name="connsiteX15" fmla="*/ 33537 w 675834"/>
                    <a:gd name="connsiteY15" fmla="*/ 639216 h 639216"/>
                    <a:gd name="connsiteX16" fmla="*/ 17839 w 675834"/>
                    <a:gd name="connsiteY16" fmla="*/ 639216 h 639216"/>
                    <a:gd name="connsiteX17" fmla="*/ 15698 w 675834"/>
                    <a:gd name="connsiteY17" fmla="*/ 639216 h 639216"/>
                    <a:gd name="connsiteX18" fmla="*/ 0 w 675834"/>
                    <a:gd name="connsiteY18" fmla="*/ 623641 h 639216"/>
                    <a:gd name="connsiteX19" fmla="*/ 0 w 675834"/>
                    <a:gd name="connsiteY19" fmla="*/ 602403 h 639216"/>
                    <a:gd name="connsiteX20" fmla="*/ 15698 w 675834"/>
                    <a:gd name="connsiteY20" fmla="*/ 586828 h 639216"/>
                    <a:gd name="connsiteX21" fmla="*/ 412768 w 675834"/>
                    <a:gd name="connsiteY21" fmla="*/ 34 h 639216"/>
                    <a:gd name="connsiteX22" fmla="*/ 491729 w 675834"/>
                    <a:gd name="connsiteY22" fmla="*/ 49042 h 639216"/>
                    <a:gd name="connsiteX23" fmla="*/ 492443 w 675834"/>
                    <a:gd name="connsiteY23" fmla="*/ 48328 h 639216"/>
                    <a:gd name="connsiteX24" fmla="*/ 495301 w 675834"/>
                    <a:gd name="connsiteY24" fmla="*/ 47614 h 639216"/>
                    <a:gd name="connsiteX25" fmla="*/ 573168 w 675834"/>
                    <a:gd name="connsiteY25" fmla="*/ 59040 h 639216"/>
                    <a:gd name="connsiteX26" fmla="*/ 593884 w 675834"/>
                    <a:gd name="connsiteY26" fmla="*/ 56183 h 639216"/>
                    <a:gd name="connsiteX27" fmla="*/ 594599 w 675834"/>
                    <a:gd name="connsiteY27" fmla="*/ 56183 h 639216"/>
                    <a:gd name="connsiteX28" fmla="*/ 601028 w 675834"/>
                    <a:gd name="connsiteY28" fmla="*/ 56897 h 639216"/>
                    <a:gd name="connsiteX29" fmla="*/ 602457 w 675834"/>
                    <a:gd name="connsiteY29" fmla="*/ 56897 h 639216"/>
                    <a:gd name="connsiteX30" fmla="*/ 609601 w 675834"/>
                    <a:gd name="connsiteY30" fmla="*/ 58326 h 639216"/>
                    <a:gd name="connsiteX31" fmla="*/ 616744 w 675834"/>
                    <a:gd name="connsiteY31" fmla="*/ 59754 h 639216"/>
                    <a:gd name="connsiteX32" fmla="*/ 620316 w 675834"/>
                    <a:gd name="connsiteY32" fmla="*/ 61182 h 639216"/>
                    <a:gd name="connsiteX33" fmla="*/ 631032 w 675834"/>
                    <a:gd name="connsiteY33" fmla="*/ 65467 h 639216"/>
                    <a:gd name="connsiteX34" fmla="*/ 642462 w 675834"/>
                    <a:gd name="connsiteY34" fmla="*/ 72609 h 639216"/>
                    <a:gd name="connsiteX35" fmla="*/ 658893 w 675834"/>
                    <a:gd name="connsiteY35" fmla="*/ 89034 h 639216"/>
                    <a:gd name="connsiteX36" fmla="*/ 668894 w 675834"/>
                    <a:gd name="connsiteY36" fmla="*/ 104745 h 639216"/>
                    <a:gd name="connsiteX37" fmla="*/ 670323 w 675834"/>
                    <a:gd name="connsiteY37" fmla="*/ 109030 h 639216"/>
                    <a:gd name="connsiteX38" fmla="*/ 673894 w 675834"/>
                    <a:gd name="connsiteY38" fmla="*/ 121170 h 639216"/>
                    <a:gd name="connsiteX39" fmla="*/ 674609 w 675834"/>
                    <a:gd name="connsiteY39" fmla="*/ 124741 h 639216"/>
                    <a:gd name="connsiteX40" fmla="*/ 626746 w 675834"/>
                    <a:gd name="connsiteY40" fmla="*/ 215437 h 639216"/>
                    <a:gd name="connsiteX41" fmla="*/ 612458 w 675834"/>
                    <a:gd name="connsiteY41" fmla="*/ 221864 h 639216"/>
                    <a:gd name="connsiteX42" fmla="*/ 611744 w 675834"/>
                    <a:gd name="connsiteY42" fmla="*/ 222578 h 639216"/>
                    <a:gd name="connsiteX43" fmla="*/ 611029 w 675834"/>
                    <a:gd name="connsiteY43" fmla="*/ 225435 h 639216"/>
                    <a:gd name="connsiteX44" fmla="*/ 610315 w 675834"/>
                    <a:gd name="connsiteY44" fmla="*/ 226149 h 639216"/>
                    <a:gd name="connsiteX45" fmla="*/ 608886 w 675834"/>
                    <a:gd name="connsiteY45" fmla="*/ 228291 h 639216"/>
                    <a:gd name="connsiteX46" fmla="*/ 608172 w 675834"/>
                    <a:gd name="connsiteY46" fmla="*/ 229720 h 639216"/>
                    <a:gd name="connsiteX47" fmla="*/ 607458 w 675834"/>
                    <a:gd name="connsiteY47" fmla="*/ 231862 h 639216"/>
                    <a:gd name="connsiteX48" fmla="*/ 606029 w 675834"/>
                    <a:gd name="connsiteY48" fmla="*/ 232576 h 639216"/>
                    <a:gd name="connsiteX49" fmla="*/ 605314 w 675834"/>
                    <a:gd name="connsiteY49" fmla="*/ 234719 h 639216"/>
                    <a:gd name="connsiteX50" fmla="*/ 603886 w 675834"/>
                    <a:gd name="connsiteY50" fmla="*/ 236147 h 639216"/>
                    <a:gd name="connsiteX51" fmla="*/ 603171 w 675834"/>
                    <a:gd name="connsiteY51" fmla="*/ 237575 h 639216"/>
                    <a:gd name="connsiteX52" fmla="*/ 601743 w 675834"/>
                    <a:gd name="connsiteY52" fmla="*/ 239004 h 639216"/>
                    <a:gd name="connsiteX53" fmla="*/ 601028 w 675834"/>
                    <a:gd name="connsiteY53" fmla="*/ 240432 h 639216"/>
                    <a:gd name="connsiteX54" fmla="*/ 599599 w 675834"/>
                    <a:gd name="connsiteY54" fmla="*/ 241860 h 639216"/>
                    <a:gd name="connsiteX55" fmla="*/ 598171 w 675834"/>
                    <a:gd name="connsiteY55" fmla="*/ 243288 h 639216"/>
                    <a:gd name="connsiteX56" fmla="*/ 597456 w 675834"/>
                    <a:gd name="connsiteY56" fmla="*/ 244717 h 639216"/>
                    <a:gd name="connsiteX57" fmla="*/ 596028 w 675834"/>
                    <a:gd name="connsiteY57" fmla="*/ 246145 h 639216"/>
                    <a:gd name="connsiteX58" fmla="*/ 594599 w 675834"/>
                    <a:gd name="connsiteY58" fmla="*/ 247573 h 639216"/>
                    <a:gd name="connsiteX59" fmla="*/ 593170 w 675834"/>
                    <a:gd name="connsiteY59" fmla="*/ 249002 h 639216"/>
                    <a:gd name="connsiteX60" fmla="*/ 591741 w 675834"/>
                    <a:gd name="connsiteY60" fmla="*/ 249716 h 639216"/>
                    <a:gd name="connsiteX61" fmla="*/ 590313 w 675834"/>
                    <a:gd name="connsiteY61" fmla="*/ 251144 h 639216"/>
                    <a:gd name="connsiteX62" fmla="*/ 588884 w 675834"/>
                    <a:gd name="connsiteY62" fmla="*/ 252572 h 639216"/>
                    <a:gd name="connsiteX63" fmla="*/ 587455 w 675834"/>
                    <a:gd name="connsiteY63" fmla="*/ 253286 h 639216"/>
                    <a:gd name="connsiteX64" fmla="*/ 586026 w 675834"/>
                    <a:gd name="connsiteY64" fmla="*/ 254715 h 639216"/>
                    <a:gd name="connsiteX65" fmla="*/ 583883 w 675834"/>
                    <a:gd name="connsiteY65" fmla="*/ 255429 h 639216"/>
                    <a:gd name="connsiteX66" fmla="*/ 582454 w 675834"/>
                    <a:gd name="connsiteY66" fmla="*/ 256857 h 639216"/>
                    <a:gd name="connsiteX67" fmla="*/ 581026 w 675834"/>
                    <a:gd name="connsiteY67" fmla="*/ 257571 h 639216"/>
                    <a:gd name="connsiteX68" fmla="*/ 579597 w 675834"/>
                    <a:gd name="connsiteY68" fmla="*/ 259000 h 639216"/>
                    <a:gd name="connsiteX69" fmla="*/ 577454 w 675834"/>
                    <a:gd name="connsiteY69" fmla="*/ 259714 h 639216"/>
                    <a:gd name="connsiteX70" fmla="*/ 576025 w 675834"/>
                    <a:gd name="connsiteY70" fmla="*/ 260428 h 639216"/>
                    <a:gd name="connsiteX71" fmla="*/ 572453 w 675834"/>
                    <a:gd name="connsiteY71" fmla="*/ 262570 h 639216"/>
                    <a:gd name="connsiteX72" fmla="*/ 568881 w 675834"/>
                    <a:gd name="connsiteY72" fmla="*/ 263999 h 639216"/>
                    <a:gd name="connsiteX73" fmla="*/ 568167 w 675834"/>
                    <a:gd name="connsiteY73" fmla="*/ 263999 h 639216"/>
                    <a:gd name="connsiteX74" fmla="*/ 565309 w 675834"/>
                    <a:gd name="connsiteY74" fmla="*/ 264713 h 639216"/>
                    <a:gd name="connsiteX75" fmla="*/ 564595 w 675834"/>
                    <a:gd name="connsiteY75" fmla="*/ 265427 h 639216"/>
                    <a:gd name="connsiteX76" fmla="*/ 561023 w 675834"/>
                    <a:gd name="connsiteY76" fmla="*/ 266141 h 639216"/>
                    <a:gd name="connsiteX77" fmla="*/ 560309 w 675834"/>
                    <a:gd name="connsiteY77" fmla="*/ 266855 h 639216"/>
                    <a:gd name="connsiteX78" fmla="*/ 558166 w 675834"/>
                    <a:gd name="connsiteY78" fmla="*/ 267569 h 639216"/>
                    <a:gd name="connsiteX79" fmla="*/ 556737 w 675834"/>
                    <a:gd name="connsiteY79" fmla="*/ 267569 h 639216"/>
                    <a:gd name="connsiteX80" fmla="*/ 554594 w 675834"/>
                    <a:gd name="connsiteY80" fmla="*/ 268283 h 639216"/>
                    <a:gd name="connsiteX81" fmla="*/ 553165 w 675834"/>
                    <a:gd name="connsiteY81" fmla="*/ 268283 h 639216"/>
                    <a:gd name="connsiteX82" fmla="*/ 549593 w 675834"/>
                    <a:gd name="connsiteY82" fmla="*/ 268998 h 639216"/>
                    <a:gd name="connsiteX83" fmla="*/ 548164 w 675834"/>
                    <a:gd name="connsiteY83" fmla="*/ 268998 h 639216"/>
                    <a:gd name="connsiteX84" fmla="*/ 546736 w 675834"/>
                    <a:gd name="connsiteY84" fmla="*/ 268998 h 639216"/>
                    <a:gd name="connsiteX85" fmla="*/ 544593 w 675834"/>
                    <a:gd name="connsiteY85" fmla="*/ 268998 h 639216"/>
                    <a:gd name="connsiteX86" fmla="*/ 543164 w 675834"/>
                    <a:gd name="connsiteY86" fmla="*/ 268998 h 639216"/>
                    <a:gd name="connsiteX87" fmla="*/ 541735 w 675834"/>
                    <a:gd name="connsiteY87" fmla="*/ 268998 h 639216"/>
                    <a:gd name="connsiteX88" fmla="*/ 538878 w 675834"/>
                    <a:gd name="connsiteY88" fmla="*/ 269712 h 639216"/>
                    <a:gd name="connsiteX89" fmla="*/ 536734 w 675834"/>
                    <a:gd name="connsiteY89" fmla="*/ 268998 h 639216"/>
                    <a:gd name="connsiteX90" fmla="*/ 535306 w 675834"/>
                    <a:gd name="connsiteY90" fmla="*/ 268998 h 639216"/>
                    <a:gd name="connsiteX91" fmla="*/ 533163 w 675834"/>
                    <a:gd name="connsiteY91" fmla="*/ 268998 h 639216"/>
                    <a:gd name="connsiteX92" fmla="*/ 531734 w 675834"/>
                    <a:gd name="connsiteY92" fmla="*/ 268998 h 639216"/>
                    <a:gd name="connsiteX93" fmla="*/ 527448 w 675834"/>
                    <a:gd name="connsiteY93" fmla="*/ 268283 h 639216"/>
                    <a:gd name="connsiteX94" fmla="*/ 526019 w 675834"/>
                    <a:gd name="connsiteY94" fmla="*/ 271854 h 639216"/>
                    <a:gd name="connsiteX95" fmla="*/ 525304 w 675834"/>
                    <a:gd name="connsiteY95" fmla="*/ 271854 h 639216"/>
                    <a:gd name="connsiteX96" fmla="*/ 523876 w 675834"/>
                    <a:gd name="connsiteY96" fmla="*/ 275425 h 639216"/>
                    <a:gd name="connsiteX97" fmla="*/ 521733 w 675834"/>
                    <a:gd name="connsiteY97" fmla="*/ 278995 h 639216"/>
                    <a:gd name="connsiteX98" fmla="*/ 521733 w 675834"/>
                    <a:gd name="connsiteY98" fmla="*/ 279710 h 639216"/>
                    <a:gd name="connsiteX99" fmla="*/ 520304 w 675834"/>
                    <a:gd name="connsiteY99" fmla="*/ 282566 h 639216"/>
                    <a:gd name="connsiteX100" fmla="*/ 519589 w 675834"/>
                    <a:gd name="connsiteY100" fmla="*/ 282566 h 639216"/>
                    <a:gd name="connsiteX101" fmla="*/ 517446 w 675834"/>
                    <a:gd name="connsiteY101" fmla="*/ 285423 h 639216"/>
                    <a:gd name="connsiteX102" fmla="*/ 517446 w 675834"/>
                    <a:gd name="connsiteY102" fmla="*/ 286137 h 639216"/>
                    <a:gd name="connsiteX103" fmla="*/ 515303 w 675834"/>
                    <a:gd name="connsiteY103" fmla="*/ 288993 h 639216"/>
                    <a:gd name="connsiteX104" fmla="*/ 514589 w 675834"/>
                    <a:gd name="connsiteY104" fmla="*/ 289708 h 639216"/>
                    <a:gd name="connsiteX105" fmla="*/ 512446 w 675834"/>
                    <a:gd name="connsiteY105" fmla="*/ 291850 h 639216"/>
                    <a:gd name="connsiteX106" fmla="*/ 511731 w 675834"/>
                    <a:gd name="connsiteY106" fmla="*/ 292564 h 639216"/>
                    <a:gd name="connsiteX107" fmla="*/ 510303 w 675834"/>
                    <a:gd name="connsiteY107" fmla="*/ 294707 h 639216"/>
                    <a:gd name="connsiteX108" fmla="*/ 508874 w 675834"/>
                    <a:gd name="connsiteY108" fmla="*/ 296135 h 639216"/>
                    <a:gd name="connsiteX109" fmla="*/ 507445 w 675834"/>
                    <a:gd name="connsiteY109" fmla="*/ 297563 h 639216"/>
                    <a:gd name="connsiteX110" fmla="*/ 506016 w 675834"/>
                    <a:gd name="connsiteY110" fmla="*/ 298991 h 639216"/>
                    <a:gd name="connsiteX111" fmla="*/ 503873 w 675834"/>
                    <a:gd name="connsiteY111" fmla="*/ 300420 h 639216"/>
                    <a:gd name="connsiteX112" fmla="*/ 502444 w 675834"/>
                    <a:gd name="connsiteY112" fmla="*/ 301848 h 639216"/>
                    <a:gd name="connsiteX113" fmla="*/ 501016 w 675834"/>
                    <a:gd name="connsiteY113" fmla="*/ 303276 h 639216"/>
                    <a:gd name="connsiteX114" fmla="*/ 499587 w 675834"/>
                    <a:gd name="connsiteY114" fmla="*/ 304705 h 639216"/>
                    <a:gd name="connsiteX115" fmla="*/ 497444 w 675834"/>
                    <a:gd name="connsiteY115" fmla="*/ 306133 h 639216"/>
                    <a:gd name="connsiteX116" fmla="*/ 496015 w 675834"/>
                    <a:gd name="connsiteY116" fmla="*/ 306847 h 639216"/>
                    <a:gd name="connsiteX117" fmla="*/ 493872 w 675834"/>
                    <a:gd name="connsiteY117" fmla="*/ 308275 h 639216"/>
                    <a:gd name="connsiteX118" fmla="*/ 491729 w 675834"/>
                    <a:gd name="connsiteY118" fmla="*/ 309704 h 639216"/>
                    <a:gd name="connsiteX119" fmla="*/ 490300 w 675834"/>
                    <a:gd name="connsiteY119" fmla="*/ 310418 h 639216"/>
                    <a:gd name="connsiteX120" fmla="*/ 488157 w 675834"/>
                    <a:gd name="connsiteY120" fmla="*/ 311846 h 639216"/>
                    <a:gd name="connsiteX121" fmla="*/ 486728 w 675834"/>
                    <a:gd name="connsiteY121" fmla="*/ 312560 h 639216"/>
                    <a:gd name="connsiteX122" fmla="*/ 482442 w 675834"/>
                    <a:gd name="connsiteY122" fmla="*/ 314703 h 639216"/>
                    <a:gd name="connsiteX123" fmla="*/ 478156 w 675834"/>
                    <a:gd name="connsiteY123" fmla="*/ 316131 h 639216"/>
                    <a:gd name="connsiteX124" fmla="*/ 476727 w 675834"/>
                    <a:gd name="connsiteY124" fmla="*/ 316845 h 639216"/>
                    <a:gd name="connsiteX125" fmla="*/ 474584 w 675834"/>
                    <a:gd name="connsiteY125" fmla="*/ 317559 h 639216"/>
                    <a:gd name="connsiteX126" fmla="*/ 471726 w 675834"/>
                    <a:gd name="connsiteY126" fmla="*/ 318273 h 639216"/>
                    <a:gd name="connsiteX127" fmla="*/ 470298 w 675834"/>
                    <a:gd name="connsiteY127" fmla="*/ 318987 h 639216"/>
                    <a:gd name="connsiteX128" fmla="*/ 467440 w 675834"/>
                    <a:gd name="connsiteY128" fmla="*/ 319702 h 639216"/>
                    <a:gd name="connsiteX129" fmla="*/ 466011 w 675834"/>
                    <a:gd name="connsiteY129" fmla="*/ 320416 h 639216"/>
                    <a:gd name="connsiteX130" fmla="*/ 463154 w 675834"/>
                    <a:gd name="connsiteY130" fmla="*/ 321130 h 639216"/>
                    <a:gd name="connsiteX131" fmla="*/ 461725 w 675834"/>
                    <a:gd name="connsiteY131" fmla="*/ 321130 h 639216"/>
                    <a:gd name="connsiteX132" fmla="*/ 458868 w 675834"/>
                    <a:gd name="connsiteY132" fmla="*/ 321844 h 639216"/>
                    <a:gd name="connsiteX133" fmla="*/ 457439 w 675834"/>
                    <a:gd name="connsiteY133" fmla="*/ 321844 h 639216"/>
                    <a:gd name="connsiteX134" fmla="*/ 453867 w 675834"/>
                    <a:gd name="connsiteY134" fmla="*/ 321844 h 639216"/>
                    <a:gd name="connsiteX135" fmla="*/ 453153 w 675834"/>
                    <a:gd name="connsiteY135" fmla="*/ 321844 h 639216"/>
                    <a:gd name="connsiteX136" fmla="*/ 449581 w 675834"/>
                    <a:gd name="connsiteY136" fmla="*/ 322558 h 639216"/>
                    <a:gd name="connsiteX137" fmla="*/ 448866 w 675834"/>
                    <a:gd name="connsiteY137" fmla="*/ 322558 h 639216"/>
                    <a:gd name="connsiteX138" fmla="*/ 445294 w 675834"/>
                    <a:gd name="connsiteY138" fmla="*/ 322558 h 639216"/>
                    <a:gd name="connsiteX139" fmla="*/ 444580 w 675834"/>
                    <a:gd name="connsiteY139" fmla="*/ 322558 h 639216"/>
                    <a:gd name="connsiteX140" fmla="*/ 441008 w 675834"/>
                    <a:gd name="connsiteY140" fmla="*/ 322558 h 639216"/>
                    <a:gd name="connsiteX141" fmla="*/ 436722 w 675834"/>
                    <a:gd name="connsiteY141" fmla="*/ 321844 h 639216"/>
                    <a:gd name="connsiteX142" fmla="*/ 436008 w 675834"/>
                    <a:gd name="connsiteY142" fmla="*/ 321844 h 639216"/>
                    <a:gd name="connsiteX143" fmla="*/ 403146 w 675834"/>
                    <a:gd name="connsiteY143" fmla="*/ 363978 h 639216"/>
                    <a:gd name="connsiteX144" fmla="*/ 383858 w 675834"/>
                    <a:gd name="connsiteY144" fmla="*/ 368977 h 639216"/>
                    <a:gd name="connsiteX145" fmla="*/ 383144 w 675834"/>
                    <a:gd name="connsiteY145" fmla="*/ 370406 h 639216"/>
                    <a:gd name="connsiteX146" fmla="*/ 379572 w 675834"/>
                    <a:gd name="connsiteY146" fmla="*/ 372548 h 639216"/>
                    <a:gd name="connsiteX147" fmla="*/ 378858 w 675834"/>
                    <a:gd name="connsiteY147" fmla="*/ 373262 h 639216"/>
                    <a:gd name="connsiteX148" fmla="*/ 375286 w 675834"/>
                    <a:gd name="connsiteY148" fmla="*/ 376119 h 639216"/>
                    <a:gd name="connsiteX149" fmla="*/ 374571 w 675834"/>
                    <a:gd name="connsiteY149" fmla="*/ 376833 h 639216"/>
                    <a:gd name="connsiteX150" fmla="*/ 373143 w 675834"/>
                    <a:gd name="connsiteY150" fmla="*/ 377547 h 639216"/>
                    <a:gd name="connsiteX151" fmla="*/ 344568 w 675834"/>
                    <a:gd name="connsiteY151" fmla="*/ 405399 h 639216"/>
                    <a:gd name="connsiteX152" fmla="*/ 313849 w 675834"/>
                    <a:gd name="connsiteY152" fmla="*/ 410398 h 639216"/>
                    <a:gd name="connsiteX153" fmla="*/ 283846 w 675834"/>
                    <a:gd name="connsiteY153" fmla="*/ 441820 h 639216"/>
                    <a:gd name="connsiteX154" fmla="*/ 235983 w 675834"/>
                    <a:gd name="connsiteY154" fmla="*/ 441820 h 639216"/>
                    <a:gd name="connsiteX155" fmla="*/ 214551 w 675834"/>
                    <a:gd name="connsiteY155" fmla="*/ 458959 h 639216"/>
                    <a:gd name="connsiteX156" fmla="*/ 157401 w 675834"/>
                    <a:gd name="connsiteY156" fmla="*/ 453960 h 639216"/>
                    <a:gd name="connsiteX157" fmla="*/ 149543 w 675834"/>
                    <a:gd name="connsiteY157" fmla="*/ 458959 h 639216"/>
                    <a:gd name="connsiteX158" fmla="*/ 72391 w 675834"/>
                    <a:gd name="connsiteY158" fmla="*/ 430394 h 639216"/>
                    <a:gd name="connsiteX159" fmla="*/ 76677 w 675834"/>
                    <a:gd name="connsiteY159" fmla="*/ 373976 h 639216"/>
                    <a:gd name="connsiteX160" fmla="*/ 65247 w 675834"/>
                    <a:gd name="connsiteY160" fmla="*/ 357551 h 639216"/>
                    <a:gd name="connsiteX161" fmla="*/ 94536 w 675834"/>
                    <a:gd name="connsiteY161" fmla="*/ 280424 h 639216"/>
                    <a:gd name="connsiteX162" fmla="*/ 100251 w 675834"/>
                    <a:gd name="connsiteY162" fmla="*/ 278281 h 639216"/>
                    <a:gd name="connsiteX163" fmla="*/ 95251 w 675834"/>
                    <a:gd name="connsiteY163" fmla="*/ 270426 h 639216"/>
                    <a:gd name="connsiteX164" fmla="*/ 113110 w 675834"/>
                    <a:gd name="connsiteY164" fmla="*/ 200440 h 639216"/>
                    <a:gd name="connsiteX165" fmla="*/ 143114 w 675834"/>
                    <a:gd name="connsiteY165" fmla="*/ 126169 h 639216"/>
                    <a:gd name="connsiteX166" fmla="*/ 168117 w 675834"/>
                    <a:gd name="connsiteY166" fmla="*/ 121170 h 639216"/>
                    <a:gd name="connsiteX167" fmla="*/ 235268 w 675834"/>
                    <a:gd name="connsiteY167" fmla="*/ 31903 h 639216"/>
                    <a:gd name="connsiteX168" fmla="*/ 344568 w 675834"/>
                    <a:gd name="connsiteY168" fmla="*/ 38330 h 639216"/>
                    <a:gd name="connsiteX169" fmla="*/ 380286 w 675834"/>
                    <a:gd name="connsiteY169" fmla="*/ 7622 h 639216"/>
                    <a:gd name="connsiteX170" fmla="*/ 412768 w 675834"/>
                    <a:gd name="connsiteY170" fmla="*/ 34 h 63921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  <a:cxn ang="0">
                      <a:pos x="connsiteX86" y="connsiteY86"/>
                    </a:cxn>
                    <a:cxn ang="0">
                      <a:pos x="connsiteX87" y="connsiteY87"/>
                    </a:cxn>
                    <a:cxn ang="0">
                      <a:pos x="connsiteX88" y="connsiteY88"/>
                    </a:cxn>
                    <a:cxn ang="0">
                      <a:pos x="connsiteX89" y="connsiteY89"/>
                    </a:cxn>
                    <a:cxn ang="0">
                      <a:pos x="connsiteX90" y="connsiteY90"/>
                    </a:cxn>
                    <a:cxn ang="0">
                      <a:pos x="connsiteX91" y="connsiteY91"/>
                    </a:cxn>
                    <a:cxn ang="0">
                      <a:pos x="connsiteX92" y="connsiteY92"/>
                    </a:cxn>
                    <a:cxn ang="0">
                      <a:pos x="connsiteX93" y="connsiteY93"/>
                    </a:cxn>
                    <a:cxn ang="0">
                      <a:pos x="connsiteX94" y="connsiteY94"/>
                    </a:cxn>
                    <a:cxn ang="0">
                      <a:pos x="connsiteX95" y="connsiteY95"/>
                    </a:cxn>
                    <a:cxn ang="0">
                      <a:pos x="connsiteX96" y="connsiteY96"/>
                    </a:cxn>
                    <a:cxn ang="0">
                      <a:pos x="connsiteX97" y="connsiteY97"/>
                    </a:cxn>
                    <a:cxn ang="0">
                      <a:pos x="connsiteX98" y="connsiteY98"/>
                    </a:cxn>
                    <a:cxn ang="0">
                      <a:pos x="connsiteX99" y="connsiteY99"/>
                    </a:cxn>
                    <a:cxn ang="0">
                      <a:pos x="connsiteX100" y="connsiteY100"/>
                    </a:cxn>
                    <a:cxn ang="0">
                      <a:pos x="connsiteX101" y="connsiteY101"/>
                    </a:cxn>
                    <a:cxn ang="0">
                      <a:pos x="connsiteX102" y="connsiteY102"/>
                    </a:cxn>
                    <a:cxn ang="0">
                      <a:pos x="connsiteX103" y="connsiteY103"/>
                    </a:cxn>
                    <a:cxn ang="0">
                      <a:pos x="connsiteX104" y="connsiteY104"/>
                    </a:cxn>
                    <a:cxn ang="0">
                      <a:pos x="connsiteX105" y="connsiteY105"/>
                    </a:cxn>
                    <a:cxn ang="0">
                      <a:pos x="connsiteX106" y="connsiteY106"/>
                    </a:cxn>
                    <a:cxn ang="0">
                      <a:pos x="connsiteX107" y="connsiteY107"/>
                    </a:cxn>
                    <a:cxn ang="0">
                      <a:pos x="connsiteX108" y="connsiteY108"/>
                    </a:cxn>
                    <a:cxn ang="0">
                      <a:pos x="connsiteX109" y="connsiteY109"/>
                    </a:cxn>
                    <a:cxn ang="0">
                      <a:pos x="connsiteX110" y="connsiteY110"/>
                    </a:cxn>
                    <a:cxn ang="0">
                      <a:pos x="connsiteX111" y="connsiteY111"/>
                    </a:cxn>
                    <a:cxn ang="0">
                      <a:pos x="connsiteX112" y="connsiteY112"/>
                    </a:cxn>
                    <a:cxn ang="0">
                      <a:pos x="connsiteX113" y="connsiteY113"/>
                    </a:cxn>
                    <a:cxn ang="0">
                      <a:pos x="connsiteX114" y="connsiteY114"/>
                    </a:cxn>
                    <a:cxn ang="0">
                      <a:pos x="connsiteX115" y="connsiteY115"/>
                    </a:cxn>
                    <a:cxn ang="0">
                      <a:pos x="connsiteX116" y="connsiteY116"/>
                    </a:cxn>
                    <a:cxn ang="0">
                      <a:pos x="connsiteX117" y="connsiteY117"/>
                    </a:cxn>
                    <a:cxn ang="0">
                      <a:pos x="connsiteX118" y="connsiteY118"/>
                    </a:cxn>
                    <a:cxn ang="0">
                      <a:pos x="connsiteX119" y="connsiteY119"/>
                    </a:cxn>
                    <a:cxn ang="0">
                      <a:pos x="connsiteX120" y="connsiteY120"/>
                    </a:cxn>
                    <a:cxn ang="0">
                      <a:pos x="connsiteX121" y="connsiteY121"/>
                    </a:cxn>
                    <a:cxn ang="0">
                      <a:pos x="connsiteX122" y="connsiteY122"/>
                    </a:cxn>
                    <a:cxn ang="0">
                      <a:pos x="connsiteX123" y="connsiteY123"/>
                    </a:cxn>
                    <a:cxn ang="0">
                      <a:pos x="connsiteX124" y="connsiteY124"/>
                    </a:cxn>
                    <a:cxn ang="0">
                      <a:pos x="connsiteX125" y="connsiteY125"/>
                    </a:cxn>
                    <a:cxn ang="0">
                      <a:pos x="connsiteX126" y="connsiteY126"/>
                    </a:cxn>
                    <a:cxn ang="0">
                      <a:pos x="connsiteX127" y="connsiteY127"/>
                    </a:cxn>
                    <a:cxn ang="0">
                      <a:pos x="connsiteX128" y="connsiteY128"/>
                    </a:cxn>
                    <a:cxn ang="0">
                      <a:pos x="connsiteX129" y="connsiteY129"/>
                    </a:cxn>
                    <a:cxn ang="0">
                      <a:pos x="connsiteX130" y="connsiteY130"/>
                    </a:cxn>
                    <a:cxn ang="0">
                      <a:pos x="connsiteX131" y="connsiteY131"/>
                    </a:cxn>
                    <a:cxn ang="0">
                      <a:pos x="connsiteX132" y="connsiteY132"/>
                    </a:cxn>
                    <a:cxn ang="0">
                      <a:pos x="connsiteX133" y="connsiteY133"/>
                    </a:cxn>
                    <a:cxn ang="0">
                      <a:pos x="connsiteX134" y="connsiteY134"/>
                    </a:cxn>
                    <a:cxn ang="0">
                      <a:pos x="connsiteX135" y="connsiteY135"/>
                    </a:cxn>
                    <a:cxn ang="0">
                      <a:pos x="connsiteX136" y="connsiteY136"/>
                    </a:cxn>
                    <a:cxn ang="0">
                      <a:pos x="connsiteX137" y="connsiteY137"/>
                    </a:cxn>
                    <a:cxn ang="0">
                      <a:pos x="connsiteX138" y="connsiteY138"/>
                    </a:cxn>
                    <a:cxn ang="0">
                      <a:pos x="connsiteX139" y="connsiteY139"/>
                    </a:cxn>
                    <a:cxn ang="0">
                      <a:pos x="connsiteX140" y="connsiteY140"/>
                    </a:cxn>
                    <a:cxn ang="0">
                      <a:pos x="connsiteX141" y="connsiteY141"/>
                    </a:cxn>
                    <a:cxn ang="0">
                      <a:pos x="connsiteX142" y="connsiteY142"/>
                    </a:cxn>
                    <a:cxn ang="0">
                      <a:pos x="connsiteX143" y="connsiteY143"/>
                    </a:cxn>
                    <a:cxn ang="0">
                      <a:pos x="connsiteX144" y="connsiteY144"/>
                    </a:cxn>
                    <a:cxn ang="0">
                      <a:pos x="connsiteX145" y="connsiteY145"/>
                    </a:cxn>
                    <a:cxn ang="0">
                      <a:pos x="connsiteX146" y="connsiteY146"/>
                    </a:cxn>
                    <a:cxn ang="0">
                      <a:pos x="connsiteX147" y="connsiteY147"/>
                    </a:cxn>
                    <a:cxn ang="0">
                      <a:pos x="connsiteX148" y="connsiteY148"/>
                    </a:cxn>
                    <a:cxn ang="0">
                      <a:pos x="connsiteX149" y="connsiteY149"/>
                    </a:cxn>
                    <a:cxn ang="0">
                      <a:pos x="connsiteX150" y="connsiteY150"/>
                    </a:cxn>
                    <a:cxn ang="0">
                      <a:pos x="connsiteX151" y="connsiteY151"/>
                    </a:cxn>
                    <a:cxn ang="0">
                      <a:pos x="connsiteX152" y="connsiteY152"/>
                    </a:cxn>
                    <a:cxn ang="0">
                      <a:pos x="connsiteX153" y="connsiteY153"/>
                    </a:cxn>
                    <a:cxn ang="0">
                      <a:pos x="connsiteX154" y="connsiteY154"/>
                    </a:cxn>
                    <a:cxn ang="0">
                      <a:pos x="connsiteX155" y="connsiteY155"/>
                    </a:cxn>
                    <a:cxn ang="0">
                      <a:pos x="connsiteX156" y="connsiteY156"/>
                    </a:cxn>
                    <a:cxn ang="0">
                      <a:pos x="connsiteX157" y="connsiteY157"/>
                    </a:cxn>
                    <a:cxn ang="0">
                      <a:pos x="connsiteX158" y="connsiteY158"/>
                    </a:cxn>
                    <a:cxn ang="0">
                      <a:pos x="connsiteX159" y="connsiteY159"/>
                    </a:cxn>
                    <a:cxn ang="0">
                      <a:pos x="connsiteX160" y="connsiteY160"/>
                    </a:cxn>
                    <a:cxn ang="0">
                      <a:pos x="connsiteX161" y="connsiteY161"/>
                    </a:cxn>
                    <a:cxn ang="0">
                      <a:pos x="connsiteX162" y="connsiteY162"/>
                    </a:cxn>
                    <a:cxn ang="0">
                      <a:pos x="connsiteX163" y="connsiteY163"/>
                    </a:cxn>
                    <a:cxn ang="0">
                      <a:pos x="connsiteX164" y="connsiteY164"/>
                    </a:cxn>
                    <a:cxn ang="0">
                      <a:pos x="connsiteX165" y="connsiteY165"/>
                    </a:cxn>
                    <a:cxn ang="0">
                      <a:pos x="connsiteX166" y="connsiteY166"/>
                    </a:cxn>
                    <a:cxn ang="0">
                      <a:pos x="connsiteX167" y="connsiteY167"/>
                    </a:cxn>
                    <a:cxn ang="0">
                      <a:pos x="connsiteX168" y="connsiteY168"/>
                    </a:cxn>
                    <a:cxn ang="0">
                      <a:pos x="connsiteX169" y="connsiteY169"/>
                    </a:cxn>
                    <a:cxn ang="0">
                      <a:pos x="connsiteX170" y="connsiteY170"/>
                    </a:cxn>
                  </a:cxnLst>
                  <a:rect l="l" t="t" r="r" b="b"/>
                  <a:pathLst>
                    <a:path w="675834" h="639216">
                      <a:moveTo>
                        <a:pt x="15698" y="586828"/>
                      </a:moveTo>
                      <a:cubicBezTo>
                        <a:pt x="15698" y="586828"/>
                        <a:pt x="15698" y="586828"/>
                        <a:pt x="22121" y="586828"/>
                      </a:cubicBezTo>
                      <a:cubicBezTo>
                        <a:pt x="22121" y="586828"/>
                        <a:pt x="22121" y="586828"/>
                        <a:pt x="37819" y="586828"/>
                      </a:cubicBezTo>
                      <a:cubicBezTo>
                        <a:pt x="37819" y="586828"/>
                        <a:pt x="37819" y="586828"/>
                        <a:pt x="53517" y="586828"/>
                      </a:cubicBezTo>
                      <a:cubicBezTo>
                        <a:pt x="53517" y="586828"/>
                        <a:pt x="53517" y="586828"/>
                        <a:pt x="292558" y="586828"/>
                      </a:cubicBezTo>
                      <a:cubicBezTo>
                        <a:pt x="292558" y="586828"/>
                        <a:pt x="292558" y="586828"/>
                        <a:pt x="308257" y="586828"/>
                      </a:cubicBezTo>
                      <a:cubicBezTo>
                        <a:pt x="308257" y="586828"/>
                        <a:pt x="308257" y="586828"/>
                        <a:pt x="323955" y="586828"/>
                      </a:cubicBezTo>
                      <a:cubicBezTo>
                        <a:pt x="323955" y="586828"/>
                        <a:pt x="323955" y="586828"/>
                        <a:pt x="330377" y="586828"/>
                      </a:cubicBezTo>
                      <a:cubicBezTo>
                        <a:pt x="338940" y="586828"/>
                        <a:pt x="346075" y="593908"/>
                        <a:pt x="346075" y="602403"/>
                      </a:cubicBezTo>
                      <a:cubicBezTo>
                        <a:pt x="346075" y="602403"/>
                        <a:pt x="346075" y="602403"/>
                        <a:pt x="346075" y="623641"/>
                      </a:cubicBezTo>
                      <a:cubicBezTo>
                        <a:pt x="346075" y="632137"/>
                        <a:pt x="338940" y="639216"/>
                        <a:pt x="330377" y="639216"/>
                      </a:cubicBezTo>
                      <a:cubicBezTo>
                        <a:pt x="330377" y="639216"/>
                        <a:pt x="330377" y="639216"/>
                        <a:pt x="327523" y="639216"/>
                      </a:cubicBezTo>
                      <a:cubicBezTo>
                        <a:pt x="327523" y="639216"/>
                        <a:pt x="327523" y="639216"/>
                        <a:pt x="311825" y="639216"/>
                      </a:cubicBezTo>
                      <a:cubicBezTo>
                        <a:pt x="311825" y="639216"/>
                        <a:pt x="311825" y="639216"/>
                        <a:pt x="296126" y="639216"/>
                      </a:cubicBezTo>
                      <a:cubicBezTo>
                        <a:pt x="296126" y="639216"/>
                        <a:pt x="296126" y="639216"/>
                        <a:pt x="49236" y="639216"/>
                      </a:cubicBezTo>
                      <a:cubicBezTo>
                        <a:pt x="49236" y="639216"/>
                        <a:pt x="49236" y="639216"/>
                        <a:pt x="33537" y="639216"/>
                      </a:cubicBezTo>
                      <a:cubicBezTo>
                        <a:pt x="33537" y="639216"/>
                        <a:pt x="33537" y="639216"/>
                        <a:pt x="17839" y="639216"/>
                      </a:cubicBezTo>
                      <a:cubicBezTo>
                        <a:pt x="17839" y="639216"/>
                        <a:pt x="17839" y="639216"/>
                        <a:pt x="15698" y="639216"/>
                      </a:cubicBezTo>
                      <a:cubicBezTo>
                        <a:pt x="7136" y="639216"/>
                        <a:pt x="0" y="632137"/>
                        <a:pt x="0" y="623641"/>
                      </a:cubicBezTo>
                      <a:cubicBezTo>
                        <a:pt x="0" y="623641"/>
                        <a:pt x="0" y="623641"/>
                        <a:pt x="0" y="602403"/>
                      </a:cubicBezTo>
                      <a:cubicBezTo>
                        <a:pt x="0" y="593908"/>
                        <a:pt x="7136" y="586828"/>
                        <a:pt x="15698" y="586828"/>
                      </a:cubicBezTo>
                      <a:close/>
                      <a:moveTo>
                        <a:pt x="412768" y="34"/>
                      </a:moveTo>
                      <a:cubicBezTo>
                        <a:pt x="445518" y="-903"/>
                        <a:pt x="477263" y="17441"/>
                        <a:pt x="491729" y="49042"/>
                      </a:cubicBezTo>
                      <a:cubicBezTo>
                        <a:pt x="491729" y="49042"/>
                        <a:pt x="492443" y="49042"/>
                        <a:pt x="492443" y="48328"/>
                      </a:cubicBezTo>
                      <a:cubicBezTo>
                        <a:pt x="493158" y="48328"/>
                        <a:pt x="493872" y="47614"/>
                        <a:pt x="495301" y="47614"/>
                      </a:cubicBezTo>
                      <a:cubicBezTo>
                        <a:pt x="522447" y="36187"/>
                        <a:pt x="551736" y="41186"/>
                        <a:pt x="573168" y="59040"/>
                      </a:cubicBezTo>
                      <a:cubicBezTo>
                        <a:pt x="580311" y="56897"/>
                        <a:pt x="587455" y="56183"/>
                        <a:pt x="593884" y="56183"/>
                      </a:cubicBezTo>
                      <a:cubicBezTo>
                        <a:pt x="594599" y="56183"/>
                        <a:pt x="594599" y="56183"/>
                        <a:pt x="594599" y="56183"/>
                      </a:cubicBezTo>
                      <a:cubicBezTo>
                        <a:pt x="596742" y="56183"/>
                        <a:pt x="598885" y="56897"/>
                        <a:pt x="601028" y="56897"/>
                      </a:cubicBezTo>
                      <a:cubicBezTo>
                        <a:pt x="601743" y="56897"/>
                        <a:pt x="601743" y="56897"/>
                        <a:pt x="602457" y="56897"/>
                      </a:cubicBezTo>
                      <a:cubicBezTo>
                        <a:pt x="604600" y="57612"/>
                        <a:pt x="607458" y="57612"/>
                        <a:pt x="609601" y="58326"/>
                      </a:cubicBezTo>
                      <a:cubicBezTo>
                        <a:pt x="611744" y="58326"/>
                        <a:pt x="614601" y="59040"/>
                        <a:pt x="616744" y="59754"/>
                      </a:cubicBezTo>
                      <a:cubicBezTo>
                        <a:pt x="618173" y="60468"/>
                        <a:pt x="618888" y="60468"/>
                        <a:pt x="620316" y="61182"/>
                      </a:cubicBezTo>
                      <a:cubicBezTo>
                        <a:pt x="624603" y="62611"/>
                        <a:pt x="628174" y="64039"/>
                        <a:pt x="631032" y="65467"/>
                      </a:cubicBezTo>
                      <a:cubicBezTo>
                        <a:pt x="635318" y="67610"/>
                        <a:pt x="638890" y="69752"/>
                        <a:pt x="642462" y="72609"/>
                      </a:cubicBezTo>
                      <a:cubicBezTo>
                        <a:pt x="648891" y="76893"/>
                        <a:pt x="653892" y="82607"/>
                        <a:pt x="658893" y="89034"/>
                      </a:cubicBezTo>
                      <a:cubicBezTo>
                        <a:pt x="662464" y="94033"/>
                        <a:pt x="666036" y="99032"/>
                        <a:pt x="668894" y="104745"/>
                      </a:cubicBezTo>
                      <a:cubicBezTo>
                        <a:pt x="668894" y="106173"/>
                        <a:pt x="669608" y="107602"/>
                        <a:pt x="670323" y="109030"/>
                      </a:cubicBezTo>
                      <a:cubicBezTo>
                        <a:pt x="671751" y="112601"/>
                        <a:pt x="673180" y="116885"/>
                        <a:pt x="673894" y="121170"/>
                      </a:cubicBezTo>
                      <a:cubicBezTo>
                        <a:pt x="673894" y="122598"/>
                        <a:pt x="674609" y="123313"/>
                        <a:pt x="674609" y="124741"/>
                      </a:cubicBezTo>
                      <a:cubicBezTo>
                        <a:pt x="681038" y="161162"/>
                        <a:pt x="661750" y="199012"/>
                        <a:pt x="626746" y="215437"/>
                      </a:cubicBezTo>
                      <a:cubicBezTo>
                        <a:pt x="623174" y="216865"/>
                        <a:pt x="618173" y="219008"/>
                        <a:pt x="612458" y="221864"/>
                      </a:cubicBezTo>
                      <a:cubicBezTo>
                        <a:pt x="612458" y="221864"/>
                        <a:pt x="611744" y="221864"/>
                        <a:pt x="611744" y="222578"/>
                      </a:cubicBezTo>
                      <a:cubicBezTo>
                        <a:pt x="611744" y="223292"/>
                        <a:pt x="611029" y="224007"/>
                        <a:pt x="611029" y="225435"/>
                      </a:cubicBezTo>
                      <a:cubicBezTo>
                        <a:pt x="610315" y="225435"/>
                        <a:pt x="610315" y="226149"/>
                        <a:pt x="610315" y="226149"/>
                      </a:cubicBezTo>
                      <a:cubicBezTo>
                        <a:pt x="609601" y="226863"/>
                        <a:pt x="609601" y="227577"/>
                        <a:pt x="608886" y="228291"/>
                      </a:cubicBezTo>
                      <a:cubicBezTo>
                        <a:pt x="608886" y="229006"/>
                        <a:pt x="608172" y="229006"/>
                        <a:pt x="608172" y="229720"/>
                      </a:cubicBezTo>
                      <a:cubicBezTo>
                        <a:pt x="608172" y="230434"/>
                        <a:pt x="607458" y="231148"/>
                        <a:pt x="607458" y="231862"/>
                      </a:cubicBezTo>
                      <a:cubicBezTo>
                        <a:pt x="606743" y="231862"/>
                        <a:pt x="606743" y="232576"/>
                        <a:pt x="606029" y="232576"/>
                      </a:cubicBezTo>
                      <a:cubicBezTo>
                        <a:pt x="606029" y="233290"/>
                        <a:pt x="605314" y="234005"/>
                        <a:pt x="605314" y="234719"/>
                      </a:cubicBezTo>
                      <a:cubicBezTo>
                        <a:pt x="604600" y="235433"/>
                        <a:pt x="604600" y="235433"/>
                        <a:pt x="603886" y="236147"/>
                      </a:cubicBezTo>
                      <a:cubicBezTo>
                        <a:pt x="603886" y="236861"/>
                        <a:pt x="603171" y="236861"/>
                        <a:pt x="603171" y="237575"/>
                      </a:cubicBezTo>
                      <a:cubicBezTo>
                        <a:pt x="602457" y="238289"/>
                        <a:pt x="602457" y="238289"/>
                        <a:pt x="601743" y="239004"/>
                      </a:cubicBezTo>
                      <a:cubicBezTo>
                        <a:pt x="601743" y="239718"/>
                        <a:pt x="601028" y="239718"/>
                        <a:pt x="601028" y="240432"/>
                      </a:cubicBezTo>
                      <a:cubicBezTo>
                        <a:pt x="600314" y="241146"/>
                        <a:pt x="600314" y="241146"/>
                        <a:pt x="599599" y="241860"/>
                      </a:cubicBezTo>
                      <a:cubicBezTo>
                        <a:pt x="598885" y="242574"/>
                        <a:pt x="598885" y="242574"/>
                        <a:pt x="598171" y="243288"/>
                      </a:cubicBezTo>
                      <a:cubicBezTo>
                        <a:pt x="598171" y="244003"/>
                        <a:pt x="597456" y="244003"/>
                        <a:pt x="597456" y="244717"/>
                      </a:cubicBezTo>
                      <a:cubicBezTo>
                        <a:pt x="596742" y="245431"/>
                        <a:pt x="596028" y="245431"/>
                        <a:pt x="596028" y="246145"/>
                      </a:cubicBezTo>
                      <a:cubicBezTo>
                        <a:pt x="595313" y="246145"/>
                        <a:pt x="594599" y="246859"/>
                        <a:pt x="594599" y="247573"/>
                      </a:cubicBezTo>
                      <a:cubicBezTo>
                        <a:pt x="593884" y="247573"/>
                        <a:pt x="593884" y="248287"/>
                        <a:pt x="593170" y="249002"/>
                      </a:cubicBezTo>
                      <a:cubicBezTo>
                        <a:pt x="592456" y="249002"/>
                        <a:pt x="592456" y="249716"/>
                        <a:pt x="591741" y="249716"/>
                      </a:cubicBezTo>
                      <a:cubicBezTo>
                        <a:pt x="591027" y="250430"/>
                        <a:pt x="591027" y="250430"/>
                        <a:pt x="590313" y="251144"/>
                      </a:cubicBezTo>
                      <a:cubicBezTo>
                        <a:pt x="589598" y="251858"/>
                        <a:pt x="589598" y="251858"/>
                        <a:pt x="588884" y="252572"/>
                      </a:cubicBezTo>
                      <a:cubicBezTo>
                        <a:pt x="588169" y="252572"/>
                        <a:pt x="587455" y="253286"/>
                        <a:pt x="587455" y="253286"/>
                      </a:cubicBezTo>
                      <a:cubicBezTo>
                        <a:pt x="586741" y="254001"/>
                        <a:pt x="586026" y="254001"/>
                        <a:pt x="586026" y="254715"/>
                      </a:cubicBezTo>
                      <a:cubicBezTo>
                        <a:pt x="585312" y="254715"/>
                        <a:pt x="584598" y="255429"/>
                        <a:pt x="583883" y="255429"/>
                      </a:cubicBezTo>
                      <a:cubicBezTo>
                        <a:pt x="583883" y="256143"/>
                        <a:pt x="583169" y="256143"/>
                        <a:pt x="582454" y="256857"/>
                      </a:cubicBezTo>
                      <a:cubicBezTo>
                        <a:pt x="581740" y="256857"/>
                        <a:pt x="581026" y="257571"/>
                        <a:pt x="581026" y="257571"/>
                      </a:cubicBezTo>
                      <a:cubicBezTo>
                        <a:pt x="580311" y="258285"/>
                        <a:pt x="579597" y="258285"/>
                        <a:pt x="579597" y="259000"/>
                      </a:cubicBezTo>
                      <a:cubicBezTo>
                        <a:pt x="578883" y="259000"/>
                        <a:pt x="578168" y="259714"/>
                        <a:pt x="577454" y="259714"/>
                      </a:cubicBezTo>
                      <a:cubicBezTo>
                        <a:pt x="576739" y="260428"/>
                        <a:pt x="576025" y="260428"/>
                        <a:pt x="576025" y="260428"/>
                      </a:cubicBezTo>
                      <a:cubicBezTo>
                        <a:pt x="574596" y="261142"/>
                        <a:pt x="573882" y="261856"/>
                        <a:pt x="572453" y="262570"/>
                      </a:cubicBezTo>
                      <a:cubicBezTo>
                        <a:pt x="571024" y="262570"/>
                        <a:pt x="570310" y="263284"/>
                        <a:pt x="568881" y="263999"/>
                      </a:cubicBezTo>
                      <a:cubicBezTo>
                        <a:pt x="568881" y="263999"/>
                        <a:pt x="568167" y="263999"/>
                        <a:pt x="568167" y="263999"/>
                      </a:cubicBezTo>
                      <a:cubicBezTo>
                        <a:pt x="567453" y="264713"/>
                        <a:pt x="566738" y="264713"/>
                        <a:pt x="565309" y="264713"/>
                      </a:cubicBezTo>
                      <a:cubicBezTo>
                        <a:pt x="565309" y="265427"/>
                        <a:pt x="564595" y="265427"/>
                        <a:pt x="564595" y="265427"/>
                      </a:cubicBezTo>
                      <a:cubicBezTo>
                        <a:pt x="563166" y="265427"/>
                        <a:pt x="562452" y="266141"/>
                        <a:pt x="561023" y="266141"/>
                      </a:cubicBezTo>
                      <a:cubicBezTo>
                        <a:pt x="561023" y="266141"/>
                        <a:pt x="561023" y="266855"/>
                        <a:pt x="560309" y="266855"/>
                      </a:cubicBezTo>
                      <a:cubicBezTo>
                        <a:pt x="559594" y="266855"/>
                        <a:pt x="558880" y="266855"/>
                        <a:pt x="558166" y="267569"/>
                      </a:cubicBezTo>
                      <a:cubicBezTo>
                        <a:pt x="557451" y="267569"/>
                        <a:pt x="556737" y="267569"/>
                        <a:pt x="556737" y="267569"/>
                      </a:cubicBezTo>
                      <a:cubicBezTo>
                        <a:pt x="556023" y="267569"/>
                        <a:pt x="555308" y="267569"/>
                        <a:pt x="554594" y="268283"/>
                      </a:cubicBezTo>
                      <a:cubicBezTo>
                        <a:pt x="553879" y="268283"/>
                        <a:pt x="553165" y="268283"/>
                        <a:pt x="553165" y="268283"/>
                      </a:cubicBezTo>
                      <a:cubicBezTo>
                        <a:pt x="551736" y="268283"/>
                        <a:pt x="551022" y="268283"/>
                        <a:pt x="549593" y="268998"/>
                      </a:cubicBezTo>
                      <a:cubicBezTo>
                        <a:pt x="549593" y="268998"/>
                        <a:pt x="548879" y="268998"/>
                        <a:pt x="548164" y="268998"/>
                      </a:cubicBezTo>
                      <a:cubicBezTo>
                        <a:pt x="548164" y="268998"/>
                        <a:pt x="547450" y="268998"/>
                        <a:pt x="546736" y="268998"/>
                      </a:cubicBezTo>
                      <a:cubicBezTo>
                        <a:pt x="546021" y="268998"/>
                        <a:pt x="545307" y="268998"/>
                        <a:pt x="544593" y="268998"/>
                      </a:cubicBezTo>
                      <a:cubicBezTo>
                        <a:pt x="544593" y="268998"/>
                        <a:pt x="543878" y="268998"/>
                        <a:pt x="543164" y="268998"/>
                      </a:cubicBezTo>
                      <a:cubicBezTo>
                        <a:pt x="542449" y="268998"/>
                        <a:pt x="541735" y="268998"/>
                        <a:pt x="541735" y="268998"/>
                      </a:cubicBezTo>
                      <a:cubicBezTo>
                        <a:pt x="540306" y="269712"/>
                        <a:pt x="539592" y="269712"/>
                        <a:pt x="538878" y="269712"/>
                      </a:cubicBezTo>
                      <a:cubicBezTo>
                        <a:pt x="538163" y="268998"/>
                        <a:pt x="537449" y="268998"/>
                        <a:pt x="536734" y="268998"/>
                      </a:cubicBezTo>
                      <a:cubicBezTo>
                        <a:pt x="536020" y="268998"/>
                        <a:pt x="536020" y="268998"/>
                        <a:pt x="535306" y="268998"/>
                      </a:cubicBezTo>
                      <a:cubicBezTo>
                        <a:pt x="534591" y="268998"/>
                        <a:pt x="533877" y="268998"/>
                        <a:pt x="533163" y="268998"/>
                      </a:cubicBezTo>
                      <a:cubicBezTo>
                        <a:pt x="533163" y="268998"/>
                        <a:pt x="532448" y="268998"/>
                        <a:pt x="531734" y="268998"/>
                      </a:cubicBezTo>
                      <a:cubicBezTo>
                        <a:pt x="530305" y="268998"/>
                        <a:pt x="528876" y="268283"/>
                        <a:pt x="527448" y="268283"/>
                      </a:cubicBezTo>
                      <a:cubicBezTo>
                        <a:pt x="526733" y="269712"/>
                        <a:pt x="526019" y="270426"/>
                        <a:pt x="526019" y="271854"/>
                      </a:cubicBezTo>
                      <a:cubicBezTo>
                        <a:pt x="526019" y="271854"/>
                        <a:pt x="525304" y="271854"/>
                        <a:pt x="525304" y="271854"/>
                      </a:cubicBezTo>
                      <a:cubicBezTo>
                        <a:pt x="525304" y="273282"/>
                        <a:pt x="524590" y="273996"/>
                        <a:pt x="523876" y="275425"/>
                      </a:cubicBezTo>
                      <a:cubicBezTo>
                        <a:pt x="523161" y="276853"/>
                        <a:pt x="522447" y="277567"/>
                        <a:pt x="521733" y="278995"/>
                      </a:cubicBezTo>
                      <a:cubicBezTo>
                        <a:pt x="521733" y="278995"/>
                        <a:pt x="521733" y="278995"/>
                        <a:pt x="521733" y="279710"/>
                      </a:cubicBezTo>
                      <a:cubicBezTo>
                        <a:pt x="521018" y="280424"/>
                        <a:pt x="520304" y="281138"/>
                        <a:pt x="520304" y="282566"/>
                      </a:cubicBezTo>
                      <a:cubicBezTo>
                        <a:pt x="519589" y="282566"/>
                        <a:pt x="519589" y="282566"/>
                        <a:pt x="519589" y="282566"/>
                      </a:cubicBezTo>
                      <a:cubicBezTo>
                        <a:pt x="518875" y="283994"/>
                        <a:pt x="518161" y="284709"/>
                        <a:pt x="517446" y="285423"/>
                      </a:cubicBezTo>
                      <a:cubicBezTo>
                        <a:pt x="517446" y="286137"/>
                        <a:pt x="517446" y="286137"/>
                        <a:pt x="517446" y="286137"/>
                      </a:cubicBezTo>
                      <a:cubicBezTo>
                        <a:pt x="516732" y="286851"/>
                        <a:pt x="516018" y="288279"/>
                        <a:pt x="515303" y="288993"/>
                      </a:cubicBezTo>
                      <a:cubicBezTo>
                        <a:pt x="515303" y="288993"/>
                        <a:pt x="514589" y="288993"/>
                        <a:pt x="514589" y="289708"/>
                      </a:cubicBezTo>
                      <a:cubicBezTo>
                        <a:pt x="513874" y="290422"/>
                        <a:pt x="513160" y="291136"/>
                        <a:pt x="512446" y="291850"/>
                      </a:cubicBezTo>
                      <a:cubicBezTo>
                        <a:pt x="512446" y="292564"/>
                        <a:pt x="512446" y="292564"/>
                        <a:pt x="511731" y="292564"/>
                      </a:cubicBezTo>
                      <a:cubicBezTo>
                        <a:pt x="511017" y="293278"/>
                        <a:pt x="511017" y="293992"/>
                        <a:pt x="510303" y="294707"/>
                      </a:cubicBezTo>
                      <a:cubicBezTo>
                        <a:pt x="509588" y="295421"/>
                        <a:pt x="509588" y="295421"/>
                        <a:pt x="508874" y="296135"/>
                      </a:cubicBezTo>
                      <a:cubicBezTo>
                        <a:pt x="508159" y="296849"/>
                        <a:pt x="508159" y="297563"/>
                        <a:pt x="507445" y="297563"/>
                      </a:cubicBezTo>
                      <a:cubicBezTo>
                        <a:pt x="506731" y="298277"/>
                        <a:pt x="506731" y="298277"/>
                        <a:pt x="506016" y="298991"/>
                      </a:cubicBezTo>
                      <a:cubicBezTo>
                        <a:pt x="505302" y="299706"/>
                        <a:pt x="504588" y="300420"/>
                        <a:pt x="503873" y="300420"/>
                      </a:cubicBezTo>
                      <a:cubicBezTo>
                        <a:pt x="503873" y="301134"/>
                        <a:pt x="503159" y="301134"/>
                        <a:pt x="502444" y="301848"/>
                      </a:cubicBezTo>
                      <a:cubicBezTo>
                        <a:pt x="502444" y="302562"/>
                        <a:pt x="501730" y="302562"/>
                        <a:pt x="501016" y="303276"/>
                      </a:cubicBezTo>
                      <a:cubicBezTo>
                        <a:pt x="500301" y="303990"/>
                        <a:pt x="499587" y="303990"/>
                        <a:pt x="499587" y="304705"/>
                      </a:cubicBezTo>
                      <a:cubicBezTo>
                        <a:pt x="498873" y="304705"/>
                        <a:pt x="498158" y="305419"/>
                        <a:pt x="497444" y="306133"/>
                      </a:cubicBezTo>
                      <a:cubicBezTo>
                        <a:pt x="496729" y="306133"/>
                        <a:pt x="496015" y="306847"/>
                        <a:pt x="496015" y="306847"/>
                      </a:cubicBezTo>
                      <a:cubicBezTo>
                        <a:pt x="495301" y="307561"/>
                        <a:pt x="494586" y="307561"/>
                        <a:pt x="493872" y="308275"/>
                      </a:cubicBezTo>
                      <a:cubicBezTo>
                        <a:pt x="493158" y="308989"/>
                        <a:pt x="492443" y="308989"/>
                        <a:pt x="491729" y="309704"/>
                      </a:cubicBezTo>
                      <a:cubicBezTo>
                        <a:pt x="491729" y="309704"/>
                        <a:pt x="491014" y="310418"/>
                        <a:pt x="490300" y="310418"/>
                      </a:cubicBezTo>
                      <a:cubicBezTo>
                        <a:pt x="489586" y="311132"/>
                        <a:pt x="488871" y="311132"/>
                        <a:pt x="488157" y="311846"/>
                      </a:cubicBezTo>
                      <a:cubicBezTo>
                        <a:pt x="487443" y="311846"/>
                        <a:pt x="486728" y="312560"/>
                        <a:pt x="486728" y="312560"/>
                      </a:cubicBezTo>
                      <a:cubicBezTo>
                        <a:pt x="485299" y="313274"/>
                        <a:pt x="483871" y="313988"/>
                        <a:pt x="482442" y="314703"/>
                      </a:cubicBezTo>
                      <a:cubicBezTo>
                        <a:pt x="481013" y="315417"/>
                        <a:pt x="479584" y="315417"/>
                        <a:pt x="478156" y="316131"/>
                      </a:cubicBezTo>
                      <a:cubicBezTo>
                        <a:pt x="478156" y="316845"/>
                        <a:pt x="477441" y="316845"/>
                        <a:pt x="476727" y="316845"/>
                      </a:cubicBezTo>
                      <a:cubicBezTo>
                        <a:pt x="476013" y="317559"/>
                        <a:pt x="475298" y="317559"/>
                        <a:pt x="474584" y="317559"/>
                      </a:cubicBezTo>
                      <a:cubicBezTo>
                        <a:pt x="473869" y="318273"/>
                        <a:pt x="472441" y="318273"/>
                        <a:pt x="471726" y="318273"/>
                      </a:cubicBezTo>
                      <a:cubicBezTo>
                        <a:pt x="471726" y="318987"/>
                        <a:pt x="471012" y="318987"/>
                        <a:pt x="470298" y="318987"/>
                      </a:cubicBezTo>
                      <a:cubicBezTo>
                        <a:pt x="468869" y="319702"/>
                        <a:pt x="468154" y="319702"/>
                        <a:pt x="467440" y="319702"/>
                      </a:cubicBezTo>
                      <a:cubicBezTo>
                        <a:pt x="466726" y="319702"/>
                        <a:pt x="466726" y="320416"/>
                        <a:pt x="466011" y="320416"/>
                      </a:cubicBezTo>
                      <a:cubicBezTo>
                        <a:pt x="464583" y="320416"/>
                        <a:pt x="463868" y="320416"/>
                        <a:pt x="463154" y="321130"/>
                      </a:cubicBezTo>
                      <a:cubicBezTo>
                        <a:pt x="462439" y="321130"/>
                        <a:pt x="462439" y="321130"/>
                        <a:pt x="461725" y="321130"/>
                      </a:cubicBezTo>
                      <a:cubicBezTo>
                        <a:pt x="460296" y="321130"/>
                        <a:pt x="459582" y="321130"/>
                        <a:pt x="458868" y="321844"/>
                      </a:cubicBezTo>
                      <a:cubicBezTo>
                        <a:pt x="458153" y="321844"/>
                        <a:pt x="458153" y="321844"/>
                        <a:pt x="457439" y="321844"/>
                      </a:cubicBezTo>
                      <a:cubicBezTo>
                        <a:pt x="456010" y="321844"/>
                        <a:pt x="455296" y="321844"/>
                        <a:pt x="453867" y="321844"/>
                      </a:cubicBezTo>
                      <a:cubicBezTo>
                        <a:pt x="453867" y="321844"/>
                        <a:pt x="453867" y="321844"/>
                        <a:pt x="453153" y="321844"/>
                      </a:cubicBezTo>
                      <a:cubicBezTo>
                        <a:pt x="451724" y="322558"/>
                        <a:pt x="451009" y="322558"/>
                        <a:pt x="449581" y="322558"/>
                      </a:cubicBezTo>
                      <a:cubicBezTo>
                        <a:pt x="449581" y="322558"/>
                        <a:pt x="449581" y="322558"/>
                        <a:pt x="448866" y="322558"/>
                      </a:cubicBezTo>
                      <a:cubicBezTo>
                        <a:pt x="448152" y="322558"/>
                        <a:pt x="446723" y="322558"/>
                        <a:pt x="445294" y="322558"/>
                      </a:cubicBezTo>
                      <a:cubicBezTo>
                        <a:pt x="445294" y="322558"/>
                        <a:pt x="445294" y="322558"/>
                        <a:pt x="444580" y="322558"/>
                      </a:cubicBezTo>
                      <a:cubicBezTo>
                        <a:pt x="443866" y="322558"/>
                        <a:pt x="442437" y="322558"/>
                        <a:pt x="441008" y="322558"/>
                      </a:cubicBezTo>
                      <a:cubicBezTo>
                        <a:pt x="439579" y="321844"/>
                        <a:pt x="438151" y="321844"/>
                        <a:pt x="436722" y="321844"/>
                      </a:cubicBezTo>
                      <a:cubicBezTo>
                        <a:pt x="436722" y="321844"/>
                        <a:pt x="436008" y="321844"/>
                        <a:pt x="436008" y="321844"/>
                      </a:cubicBezTo>
                      <a:cubicBezTo>
                        <a:pt x="432436" y="339698"/>
                        <a:pt x="421006" y="356123"/>
                        <a:pt x="403146" y="363978"/>
                      </a:cubicBezTo>
                      <a:cubicBezTo>
                        <a:pt x="396717" y="366835"/>
                        <a:pt x="390288" y="368263"/>
                        <a:pt x="383858" y="368977"/>
                      </a:cubicBezTo>
                      <a:cubicBezTo>
                        <a:pt x="383144" y="369691"/>
                        <a:pt x="383144" y="369691"/>
                        <a:pt x="383144" y="370406"/>
                      </a:cubicBezTo>
                      <a:cubicBezTo>
                        <a:pt x="381715" y="371120"/>
                        <a:pt x="381001" y="371834"/>
                        <a:pt x="379572" y="372548"/>
                      </a:cubicBezTo>
                      <a:cubicBezTo>
                        <a:pt x="379572" y="373262"/>
                        <a:pt x="379572" y="373262"/>
                        <a:pt x="378858" y="373262"/>
                      </a:cubicBezTo>
                      <a:cubicBezTo>
                        <a:pt x="377429" y="373976"/>
                        <a:pt x="376714" y="375405"/>
                        <a:pt x="375286" y="376119"/>
                      </a:cubicBezTo>
                      <a:cubicBezTo>
                        <a:pt x="375286" y="376119"/>
                        <a:pt x="374571" y="376833"/>
                        <a:pt x="374571" y="376833"/>
                      </a:cubicBezTo>
                      <a:cubicBezTo>
                        <a:pt x="373857" y="376833"/>
                        <a:pt x="373857" y="377547"/>
                        <a:pt x="373143" y="377547"/>
                      </a:cubicBezTo>
                      <a:cubicBezTo>
                        <a:pt x="367428" y="389687"/>
                        <a:pt x="357426" y="399685"/>
                        <a:pt x="344568" y="405399"/>
                      </a:cubicBezTo>
                      <a:cubicBezTo>
                        <a:pt x="334566" y="409683"/>
                        <a:pt x="323851" y="411112"/>
                        <a:pt x="313849" y="410398"/>
                      </a:cubicBezTo>
                      <a:cubicBezTo>
                        <a:pt x="308134" y="423966"/>
                        <a:pt x="298133" y="435392"/>
                        <a:pt x="283846" y="441820"/>
                      </a:cubicBezTo>
                      <a:cubicBezTo>
                        <a:pt x="268129" y="448961"/>
                        <a:pt x="250984" y="448247"/>
                        <a:pt x="235983" y="441820"/>
                      </a:cubicBezTo>
                      <a:cubicBezTo>
                        <a:pt x="230982" y="448961"/>
                        <a:pt x="223124" y="455388"/>
                        <a:pt x="214551" y="458959"/>
                      </a:cubicBezTo>
                      <a:cubicBezTo>
                        <a:pt x="195263" y="467529"/>
                        <a:pt x="173832" y="465386"/>
                        <a:pt x="157401" y="453960"/>
                      </a:cubicBezTo>
                      <a:cubicBezTo>
                        <a:pt x="155258" y="456103"/>
                        <a:pt x="152401" y="457531"/>
                        <a:pt x="149543" y="458959"/>
                      </a:cubicBezTo>
                      <a:cubicBezTo>
                        <a:pt x="120254" y="472528"/>
                        <a:pt x="85249" y="459673"/>
                        <a:pt x="72391" y="430394"/>
                      </a:cubicBezTo>
                      <a:cubicBezTo>
                        <a:pt x="63818" y="411112"/>
                        <a:pt x="65961" y="390402"/>
                        <a:pt x="76677" y="373976"/>
                      </a:cubicBezTo>
                      <a:cubicBezTo>
                        <a:pt x="72391" y="369691"/>
                        <a:pt x="68104" y="363978"/>
                        <a:pt x="65247" y="357551"/>
                      </a:cubicBezTo>
                      <a:cubicBezTo>
                        <a:pt x="52388" y="328271"/>
                        <a:pt x="65247" y="293992"/>
                        <a:pt x="94536" y="280424"/>
                      </a:cubicBezTo>
                      <a:cubicBezTo>
                        <a:pt x="95965" y="279710"/>
                        <a:pt x="98108" y="278995"/>
                        <a:pt x="100251" y="278281"/>
                      </a:cubicBezTo>
                      <a:cubicBezTo>
                        <a:pt x="98108" y="276139"/>
                        <a:pt x="96679" y="273282"/>
                        <a:pt x="95251" y="270426"/>
                      </a:cubicBezTo>
                      <a:cubicBezTo>
                        <a:pt x="83821" y="245431"/>
                        <a:pt x="91679" y="216865"/>
                        <a:pt x="113110" y="200440"/>
                      </a:cubicBezTo>
                      <a:cubicBezTo>
                        <a:pt x="101680" y="171874"/>
                        <a:pt x="114539" y="139024"/>
                        <a:pt x="143114" y="126169"/>
                      </a:cubicBezTo>
                      <a:cubicBezTo>
                        <a:pt x="150972" y="122598"/>
                        <a:pt x="159544" y="121170"/>
                        <a:pt x="168117" y="121170"/>
                      </a:cubicBezTo>
                      <a:cubicBezTo>
                        <a:pt x="173832" y="83321"/>
                        <a:pt x="198121" y="49042"/>
                        <a:pt x="235268" y="31903"/>
                      </a:cubicBezTo>
                      <a:cubicBezTo>
                        <a:pt x="272416" y="15477"/>
                        <a:pt x="313135" y="19048"/>
                        <a:pt x="344568" y="38330"/>
                      </a:cubicBezTo>
                      <a:cubicBezTo>
                        <a:pt x="353140" y="25475"/>
                        <a:pt x="365284" y="14763"/>
                        <a:pt x="380286" y="7622"/>
                      </a:cubicBezTo>
                      <a:cubicBezTo>
                        <a:pt x="390823" y="2801"/>
                        <a:pt x="401851" y="346"/>
                        <a:pt x="412768" y="34"/>
                      </a:cubicBezTo>
                      <a:close/>
                    </a:path>
                  </a:pathLst>
                </a:custGeom>
                <a:solidFill>
                  <a:srgbClr val="76C3E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it-IT"/>
                </a:p>
              </p:txBody>
            </p:sp>
          </p:grpSp>
        </p:grpSp>
      </p:grpSp>
      <p:grpSp>
        <p:nvGrpSpPr>
          <p:cNvPr id="21" name="Gruppo 20">
            <a:extLst>
              <a:ext uri="{FF2B5EF4-FFF2-40B4-BE49-F238E27FC236}">
                <a16:creationId xmlns:a16="http://schemas.microsoft.com/office/drawing/2014/main" id="{6CF071F6-66A8-BB06-2C91-97EC1BDA2FB8}"/>
              </a:ext>
            </a:extLst>
          </p:cNvPr>
          <p:cNvGrpSpPr/>
          <p:nvPr/>
        </p:nvGrpSpPr>
        <p:grpSpPr>
          <a:xfrm>
            <a:off x="7046936" y="4716868"/>
            <a:ext cx="633336" cy="632726"/>
            <a:chOff x="6898541" y="2885033"/>
            <a:chExt cx="633336" cy="632726"/>
          </a:xfrm>
        </p:grpSpPr>
        <p:sp>
          <p:nvSpPr>
            <p:cNvPr id="22" name="Oval 14">
              <a:extLst>
                <a:ext uri="{FF2B5EF4-FFF2-40B4-BE49-F238E27FC236}">
                  <a16:creationId xmlns:a16="http://schemas.microsoft.com/office/drawing/2014/main" id="{3362B0B7-EE67-1FCB-D5BE-FF941C8050C0}"/>
                </a:ext>
              </a:extLst>
            </p:cNvPr>
            <p:cNvSpPr>
              <a:spLocks/>
            </p:cNvSpPr>
            <p:nvPr>
              <p:custDataLst>
                <p:tags r:id="rId1"/>
              </p:custDataLst>
            </p:nvPr>
          </p:nvSpPr>
          <p:spPr>
            <a:xfrm>
              <a:off x="6898541" y="2885033"/>
              <a:ext cx="633336" cy="632726"/>
            </a:xfrm>
            <a:prstGeom prst="ellipse">
              <a:avLst/>
            </a:prstGeom>
            <a:solidFill>
              <a:srgbClr val="FFFFFF"/>
            </a:solidFill>
            <a:ln w="25400" cap="flat" cmpd="sng" algn="ctr">
              <a:gradFill flip="none" rotWithShape="1">
                <a:gsLst>
                  <a:gs pos="0">
                    <a:srgbClr val="007154">
                      <a:lumMod val="50000"/>
                    </a:srgbClr>
                  </a:gs>
                  <a:gs pos="100000">
                    <a:srgbClr val="009670"/>
                  </a:gs>
                </a:gsLst>
                <a:lin ang="2700000" scaled="1"/>
                <a:tileRect/>
              </a:gradFill>
              <a:prstDash val="solid"/>
            </a:ln>
            <a:effectLst/>
          </p:spPr>
          <p:txBody>
            <a:bodyPr lIns="0" tIns="0" rIns="0" bIns="0" rtlCol="0" anchor="ctr"/>
            <a:lstStyle/>
            <a:p>
              <a:pPr algn="ctr">
                <a:lnSpc>
                  <a:spcPct val="95000"/>
                </a:lnSpc>
              </a:pPr>
              <a:endParaRPr lang="it-IT" sz="2400" kern="0">
                <a:solidFill>
                  <a:srgbClr val="009670"/>
                </a:solidFill>
                <a:latin typeface="Bahnschrift Light SemiCondensed"/>
              </a:endParaRPr>
            </a:p>
          </p:txBody>
        </p:sp>
        <p:sp>
          <p:nvSpPr>
            <p:cNvPr id="23" name="object 15">
              <a:extLst>
                <a:ext uri="{FF2B5EF4-FFF2-40B4-BE49-F238E27FC236}">
                  <a16:creationId xmlns:a16="http://schemas.microsoft.com/office/drawing/2014/main" id="{9CD5C4BC-E871-D68F-C9D4-A368EA521F49}"/>
                </a:ext>
              </a:extLst>
            </p:cNvPr>
            <p:cNvSpPr/>
            <p:nvPr/>
          </p:nvSpPr>
          <p:spPr>
            <a:xfrm>
              <a:off x="7050766" y="3061826"/>
              <a:ext cx="386080" cy="323850"/>
            </a:xfrm>
            <a:custGeom>
              <a:avLst/>
              <a:gdLst/>
              <a:ahLst/>
              <a:cxnLst/>
              <a:rect l="l" t="t" r="r" b="b"/>
              <a:pathLst>
                <a:path w="386079" h="323850">
                  <a:moveTo>
                    <a:pt x="179044" y="261264"/>
                  </a:moveTo>
                  <a:lnTo>
                    <a:pt x="32905" y="261264"/>
                  </a:lnTo>
                  <a:lnTo>
                    <a:pt x="20172" y="263737"/>
                  </a:lnTo>
                  <a:lnTo>
                    <a:pt x="9704" y="270459"/>
                  </a:lnTo>
                  <a:lnTo>
                    <a:pt x="2610" y="280381"/>
                  </a:lnTo>
                  <a:lnTo>
                    <a:pt x="0" y="292455"/>
                  </a:lnTo>
                  <a:lnTo>
                    <a:pt x="2610" y="304642"/>
                  </a:lnTo>
                  <a:lnTo>
                    <a:pt x="9704" y="314625"/>
                  </a:lnTo>
                  <a:lnTo>
                    <a:pt x="20172" y="321371"/>
                  </a:lnTo>
                  <a:lnTo>
                    <a:pt x="32905" y="323850"/>
                  </a:lnTo>
                  <a:lnTo>
                    <a:pt x="179044" y="323850"/>
                  </a:lnTo>
                  <a:lnTo>
                    <a:pt x="191900" y="321371"/>
                  </a:lnTo>
                  <a:lnTo>
                    <a:pt x="201707" y="315087"/>
                  </a:lnTo>
                  <a:lnTo>
                    <a:pt x="32651" y="315087"/>
                  </a:lnTo>
                  <a:lnTo>
                    <a:pt x="23400" y="313306"/>
                  </a:lnTo>
                  <a:lnTo>
                    <a:pt x="15801" y="308452"/>
                  </a:lnTo>
                  <a:lnTo>
                    <a:pt x="10656" y="301258"/>
                  </a:lnTo>
                  <a:lnTo>
                    <a:pt x="8763" y="292455"/>
                  </a:lnTo>
                  <a:lnTo>
                    <a:pt x="10656" y="283762"/>
                  </a:lnTo>
                  <a:lnTo>
                    <a:pt x="15801" y="276625"/>
                  </a:lnTo>
                  <a:lnTo>
                    <a:pt x="23400" y="271792"/>
                  </a:lnTo>
                  <a:lnTo>
                    <a:pt x="32651" y="270014"/>
                  </a:lnTo>
                  <a:lnTo>
                    <a:pt x="201732" y="270014"/>
                  </a:lnTo>
                  <a:lnTo>
                    <a:pt x="191900" y="263737"/>
                  </a:lnTo>
                  <a:lnTo>
                    <a:pt x="179044" y="261264"/>
                  </a:lnTo>
                  <a:close/>
                </a:path>
                <a:path w="386079" h="323850">
                  <a:moveTo>
                    <a:pt x="201732" y="270014"/>
                  </a:moveTo>
                  <a:lnTo>
                    <a:pt x="179298" y="270014"/>
                  </a:lnTo>
                  <a:lnTo>
                    <a:pt x="188672" y="271792"/>
                  </a:lnTo>
                  <a:lnTo>
                    <a:pt x="196330" y="276625"/>
                  </a:lnTo>
                  <a:lnTo>
                    <a:pt x="201496" y="283762"/>
                  </a:lnTo>
                  <a:lnTo>
                    <a:pt x="203390" y="292455"/>
                  </a:lnTo>
                  <a:lnTo>
                    <a:pt x="201496" y="301258"/>
                  </a:lnTo>
                  <a:lnTo>
                    <a:pt x="196330" y="308452"/>
                  </a:lnTo>
                  <a:lnTo>
                    <a:pt x="188672" y="313306"/>
                  </a:lnTo>
                  <a:lnTo>
                    <a:pt x="179298" y="315087"/>
                  </a:lnTo>
                  <a:lnTo>
                    <a:pt x="201707" y="315087"/>
                  </a:lnTo>
                  <a:lnTo>
                    <a:pt x="202428" y="314625"/>
                  </a:lnTo>
                  <a:lnTo>
                    <a:pt x="209541" y="304642"/>
                  </a:lnTo>
                  <a:lnTo>
                    <a:pt x="212153" y="292455"/>
                  </a:lnTo>
                  <a:lnTo>
                    <a:pt x="209541" y="280381"/>
                  </a:lnTo>
                  <a:lnTo>
                    <a:pt x="202428" y="270459"/>
                  </a:lnTo>
                  <a:lnTo>
                    <a:pt x="201732" y="270014"/>
                  </a:lnTo>
                  <a:close/>
                </a:path>
                <a:path w="386079" h="323850">
                  <a:moveTo>
                    <a:pt x="153123" y="231508"/>
                  </a:moveTo>
                  <a:lnTo>
                    <a:pt x="143903" y="231508"/>
                  </a:lnTo>
                  <a:lnTo>
                    <a:pt x="143903" y="250329"/>
                  </a:lnTo>
                  <a:lnTo>
                    <a:pt x="153123" y="250329"/>
                  </a:lnTo>
                  <a:lnTo>
                    <a:pt x="153123" y="231508"/>
                  </a:lnTo>
                  <a:close/>
                </a:path>
                <a:path w="386079" h="323850">
                  <a:moveTo>
                    <a:pt x="115303" y="231508"/>
                  </a:moveTo>
                  <a:lnTo>
                    <a:pt x="106540" y="231508"/>
                  </a:lnTo>
                  <a:lnTo>
                    <a:pt x="106540" y="250329"/>
                  </a:lnTo>
                  <a:lnTo>
                    <a:pt x="115303" y="250329"/>
                  </a:lnTo>
                  <a:lnTo>
                    <a:pt x="115303" y="231508"/>
                  </a:lnTo>
                  <a:close/>
                </a:path>
                <a:path w="386079" h="323850">
                  <a:moveTo>
                    <a:pt x="54876" y="231508"/>
                  </a:moveTo>
                  <a:lnTo>
                    <a:pt x="45656" y="231508"/>
                  </a:lnTo>
                  <a:lnTo>
                    <a:pt x="45656" y="250329"/>
                  </a:lnTo>
                  <a:lnTo>
                    <a:pt x="54876" y="250329"/>
                  </a:lnTo>
                  <a:lnTo>
                    <a:pt x="54876" y="231508"/>
                  </a:lnTo>
                  <a:close/>
                </a:path>
                <a:path w="386079" h="323850">
                  <a:moveTo>
                    <a:pt x="69583" y="115417"/>
                  </a:moveTo>
                  <a:lnTo>
                    <a:pt x="13817" y="115417"/>
                  </a:lnTo>
                  <a:lnTo>
                    <a:pt x="11593" y="117716"/>
                  </a:lnTo>
                  <a:lnTo>
                    <a:pt x="11531" y="154152"/>
                  </a:lnTo>
                  <a:lnTo>
                    <a:pt x="28740" y="170675"/>
                  </a:lnTo>
                  <a:lnTo>
                    <a:pt x="69583" y="170675"/>
                  </a:lnTo>
                  <a:lnTo>
                    <a:pt x="69583" y="161925"/>
                  </a:lnTo>
                  <a:lnTo>
                    <a:pt x="32524" y="161925"/>
                  </a:lnTo>
                  <a:lnTo>
                    <a:pt x="20751" y="150482"/>
                  </a:lnTo>
                  <a:lnTo>
                    <a:pt x="20751" y="123850"/>
                  </a:lnTo>
                  <a:lnTo>
                    <a:pt x="69583" y="123850"/>
                  </a:lnTo>
                  <a:lnTo>
                    <a:pt x="69583" y="115417"/>
                  </a:lnTo>
                  <a:close/>
                </a:path>
                <a:path w="386079" h="323850">
                  <a:moveTo>
                    <a:pt x="351980" y="150215"/>
                  </a:moveTo>
                  <a:lnTo>
                    <a:pt x="349707" y="151396"/>
                  </a:lnTo>
                  <a:lnTo>
                    <a:pt x="347421" y="152387"/>
                  </a:lnTo>
                  <a:lnTo>
                    <a:pt x="346595" y="155143"/>
                  </a:lnTo>
                  <a:lnTo>
                    <a:pt x="347840" y="157302"/>
                  </a:lnTo>
                  <a:lnTo>
                    <a:pt x="351155" y="163588"/>
                  </a:lnTo>
                  <a:lnTo>
                    <a:pt x="358000" y="167525"/>
                  </a:lnTo>
                  <a:lnTo>
                    <a:pt x="365671" y="167525"/>
                  </a:lnTo>
                  <a:lnTo>
                    <a:pt x="373415" y="166011"/>
                  </a:lnTo>
                  <a:lnTo>
                    <a:pt x="379741" y="161898"/>
                  </a:lnTo>
                  <a:lnTo>
                    <a:pt x="381864" y="158877"/>
                  </a:lnTo>
                  <a:lnTo>
                    <a:pt x="361518" y="158877"/>
                  </a:lnTo>
                  <a:lnTo>
                    <a:pt x="357784" y="156705"/>
                  </a:lnTo>
                  <a:lnTo>
                    <a:pt x="355917" y="153174"/>
                  </a:lnTo>
                  <a:lnTo>
                    <a:pt x="354685" y="151003"/>
                  </a:lnTo>
                  <a:lnTo>
                    <a:pt x="351980" y="150215"/>
                  </a:lnTo>
                  <a:close/>
                </a:path>
                <a:path w="386079" h="323850">
                  <a:moveTo>
                    <a:pt x="69583" y="123850"/>
                  </a:moveTo>
                  <a:lnTo>
                    <a:pt x="60413" y="123850"/>
                  </a:lnTo>
                  <a:lnTo>
                    <a:pt x="60413" y="161925"/>
                  </a:lnTo>
                  <a:lnTo>
                    <a:pt x="69583" y="161925"/>
                  </a:lnTo>
                  <a:lnTo>
                    <a:pt x="69583" y="123850"/>
                  </a:lnTo>
                  <a:close/>
                </a:path>
                <a:path w="386079" h="323850">
                  <a:moveTo>
                    <a:pt x="370230" y="36957"/>
                  </a:moveTo>
                  <a:lnTo>
                    <a:pt x="361111" y="36957"/>
                  </a:lnTo>
                  <a:lnTo>
                    <a:pt x="361111" y="136258"/>
                  </a:lnTo>
                  <a:lnTo>
                    <a:pt x="362978" y="138036"/>
                  </a:lnTo>
                  <a:lnTo>
                    <a:pt x="371678" y="138036"/>
                  </a:lnTo>
                  <a:lnTo>
                    <a:pt x="376453" y="142748"/>
                  </a:lnTo>
                  <a:lnTo>
                    <a:pt x="376453" y="154152"/>
                  </a:lnTo>
                  <a:lnTo>
                    <a:pt x="371678" y="158877"/>
                  </a:lnTo>
                  <a:lnTo>
                    <a:pt x="381864" y="158877"/>
                  </a:lnTo>
                  <a:lnTo>
                    <a:pt x="384007" y="155829"/>
                  </a:lnTo>
                  <a:lnTo>
                    <a:pt x="385572" y="148450"/>
                  </a:lnTo>
                  <a:lnTo>
                    <a:pt x="385572" y="139407"/>
                  </a:lnTo>
                  <a:lnTo>
                    <a:pt x="378942" y="131940"/>
                  </a:lnTo>
                  <a:lnTo>
                    <a:pt x="370230" y="129768"/>
                  </a:lnTo>
                  <a:lnTo>
                    <a:pt x="370230" y="36957"/>
                  </a:lnTo>
                  <a:close/>
                </a:path>
                <a:path w="386079" h="323850">
                  <a:moveTo>
                    <a:pt x="197900" y="105981"/>
                  </a:moveTo>
                  <a:lnTo>
                    <a:pt x="177812" y="105981"/>
                  </a:lnTo>
                  <a:lnTo>
                    <a:pt x="218046" y="125844"/>
                  </a:lnTo>
                  <a:lnTo>
                    <a:pt x="180517" y="152184"/>
                  </a:lnTo>
                  <a:lnTo>
                    <a:pt x="186944" y="158483"/>
                  </a:lnTo>
                  <a:lnTo>
                    <a:pt x="245464" y="117716"/>
                  </a:lnTo>
                  <a:lnTo>
                    <a:pt x="221843" y="117716"/>
                  </a:lnTo>
                  <a:lnTo>
                    <a:pt x="197900" y="105981"/>
                  </a:lnTo>
                  <a:close/>
                </a:path>
                <a:path w="386079" h="323850">
                  <a:moveTo>
                    <a:pt x="177793" y="106768"/>
                  </a:moveTo>
                  <a:lnTo>
                    <a:pt x="168694" y="106768"/>
                  </a:lnTo>
                  <a:lnTo>
                    <a:pt x="167868" y="139801"/>
                  </a:lnTo>
                  <a:lnTo>
                    <a:pt x="176784" y="148450"/>
                  </a:lnTo>
                  <a:lnTo>
                    <a:pt x="177793" y="106768"/>
                  </a:lnTo>
                  <a:close/>
                </a:path>
                <a:path w="386079" h="323850">
                  <a:moveTo>
                    <a:pt x="324978" y="17500"/>
                  </a:moveTo>
                  <a:lnTo>
                    <a:pt x="307403" y="17500"/>
                  </a:lnTo>
                  <a:lnTo>
                    <a:pt x="140500" y="112661"/>
                  </a:lnTo>
                  <a:lnTo>
                    <a:pt x="146926" y="119151"/>
                  </a:lnTo>
                  <a:lnTo>
                    <a:pt x="168694" y="106768"/>
                  </a:lnTo>
                  <a:lnTo>
                    <a:pt x="177793" y="106768"/>
                  </a:lnTo>
                  <a:lnTo>
                    <a:pt x="177812" y="105981"/>
                  </a:lnTo>
                  <a:lnTo>
                    <a:pt x="197900" y="105981"/>
                  </a:lnTo>
                  <a:lnTo>
                    <a:pt x="182638" y="98501"/>
                  </a:lnTo>
                  <a:lnTo>
                    <a:pt x="221843" y="76136"/>
                  </a:lnTo>
                  <a:lnTo>
                    <a:pt x="250347" y="76136"/>
                  </a:lnTo>
                  <a:lnTo>
                    <a:pt x="235673" y="68313"/>
                  </a:lnTo>
                  <a:lnTo>
                    <a:pt x="268427" y="49885"/>
                  </a:lnTo>
                  <a:lnTo>
                    <a:pt x="293447" y="49885"/>
                  </a:lnTo>
                  <a:lnTo>
                    <a:pt x="281343" y="42291"/>
                  </a:lnTo>
                  <a:lnTo>
                    <a:pt x="306705" y="27559"/>
                  </a:lnTo>
                  <a:lnTo>
                    <a:pt x="325994" y="27559"/>
                  </a:lnTo>
                  <a:lnTo>
                    <a:pt x="317779" y="21501"/>
                  </a:lnTo>
                  <a:lnTo>
                    <a:pt x="324978" y="17500"/>
                  </a:lnTo>
                  <a:close/>
                </a:path>
                <a:path w="386079" h="323850">
                  <a:moveTo>
                    <a:pt x="231063" y="76136"/>
                  </a:moveTo>
                  <a:lnTo>
                    <a:pt x="221843" y="76136"/>
                  </a:lnTo>
                  <a:lnTo>
                    <a:pt x="221843" y="117716"/>
                  </a:lnTo>
                  <a:lnTo>
                    <a:pt x="245464" y="117716"/>
                  </a:lnTo>
                  <a:lnTo>
                    <a:pt x="247342" y="116408"/>
                  </a:lnTo>
                  <a:lnTo>
                    <a:pt x="231063" y="116408"/>
                  </a:lnTo>
                  <a:lnTo>
                    <a:pt x="231063" y="76136"/>
                  </a:lnTo>
                  <a:close/>
                </a:path>
                <a:path w="386079" h="323850">
                  <a:moveTo>
                    <a:pt x="250347" y="76136"/>
                  </a:moveTo>
                  <a:lnTo>
                    <a:pt x="231063" y="76136"/>
                  </a:lnTo>
                  <a:lnTo>
                    <a:pt x="264274" y="93535"/>
                  </a:lnTo>
                  <a:lnTo>
                    <a:pt x="231063" y="116408"/>
                  </a:lnTo>
                  <a:lnTo>
                    <a:pt x="247342" y="116408"/>
                  </a:lnTo>
                  <a:lnTo>
                    <a:pt x="291314" y="85775"/>
                  </a:lnTo>
                  <a:lnTo>
                    <a:pt x="268427" y="85775"/>
                  </a:lnTo>
                  <a:lnTo>
                    <a:pt x="250347" y="76136"/>
                  </a:lnTo>
                  <a:close/>
                </a:path>
                <a:path w="386079" h="323850">
                  <a:moveTo>
                    <a:pt x="39779" y="104203"/>
                  </a:moveTo>
                  <a:lnTo>
                    <a:pt x="29781" y="104203"/>
                  </a:lnTo>
                  <a:lnTo>
                    <a:pt x="34544" y="115417"/>
                  </a:lnTo>
                  <a:lnTo>
                    <a:pt x="44284" y="115417"/>
                  </a:lnTo>
                  <a:lnTo>
                    <a:pt x="44284" y="114833"/>
                  </a:lnTo>
                  <a:lnTo>
                    <a:pt x="44081" y="114439"/>
                  </a:lnTo>
                  <a:lnTo>
                    <a:pt x="43878" y="113842"/>
                  </a:lnTo>
                  <a:lnTo>
                    <a:pt x="39779" y="104203"/>
                  </a:lnTo>
                  <a:close/>
                </a:path>
                <a:path w="386079" h="323850">
                  <a:moveTo>
                    <a:pt x="32677" y="75692"/>
                  </a:moveTo>
                  <a:lnTo>
                    <a:pt x="19621" y="75692"/>
                  </a:lnTo>
                  <a:lnTo>
                    <a:pt x="12776" y="82181"/>
                  </a:lnTo>
                  <a:lnTo>
                    <a:pt x="12776" y="97917"/>
                  </a:lnTo>
                  <a:lnTo>
                    <a:pt x="19621" y="104406"/>
                  </a:lnTo>
                  <a:lnTo>
                    <a:pt x="29159" y="104406"/>
                  </a:lnTo>
                  <a:lnTo>
                    <a:pt x="29781" y="104203"/>
                  </a:lnTo>
                  <a:lnTo>
                    <a:pt x="39779" y="104203"/>
                  </a:lnTo>
                  <a:lnTo>
                    <a:pt x="38277" y="100672"/>
                  </a:lnTo>
                  <a:lnTo>
                    <a:pt x="41389" y="98120"/>
                  </a:lnTo>
                  <a:lnTo>
                    <a:pt x="42591" y="95834"/>
                  </a:lnTo>
                  <a:lnTo>
                    <a:pt x="24422" y="95834"/>
                  </a:lnTo>
                  <a:lnTo>
                    <a:pt x="21678" y="93281"/>
                  </a:lnTo>
                  <a:lnTo>
                    <a:pt x="21678" y="87007"/>
                  </a:lnTo>
                  <a:lnTo>
                    <a:pt x="24422" y="84455"/>
                  </a:lnTo>
                  <a:lnTo>
                    <a:pt x="60272" y="84455"/>
                  </a:lnTo>
                  <a:lnTo>
                    <a:pt x="73022" y="81000"/>
                  </a:lnTo>
                  <a:lnTo>
                    <a:pt x="39941" y="81000"/>
                  </a:lnTo>
                  <a:lnTo>
                    <a:pt x="37236" y="77863"/>
                  </a:lnTo>
                  <a:lnTo>
                    <a:pt x="32677" y="75692"/>
                  </a:lnTo>
                  <a:close/>
                </a:path>
                <a:path w="386079" h="323850">
                  <a:moveTo>
                    <a:pt x="60272" y="84455"/>
                  </a:moveTo>
                  <a:lnTo>
                    <a:pt x="31178" y="84455"/>
                  </a:lnTo>
                  <a:lnTo>
                    <a:pt x="34124" y="87007"/>
                  </a:lnTo>
                  <a:lnTo>
                    <a:pt x="34124" y="93281"/>
                  </a:lnTo>
                  <a:lnTo>
                    <a:pt x="31178" y="95834"/>
                  </a:lnTo>
                  <a:lnTo>
                    <a:pt x="42591" y="95834"/>
                  </a:lnTo>
                  <a:lnTo>
                    <a:pt x="43459" y="94183"/>
                  </a:lnTo>
                  <a:lnTo>
                    <a:pt x="43459" y="89268"/>
                  </a:lnTo>
                  <a:lnTo>
                    <a:pt x="43256" y="89065"/>
                  </a:lnTo>
                  <a:lnTo>
                    <a:pt x="60272" y="84455"/>
                  </a:lnTo>
                  <a:close/>
                </a:path>
                <a:path w="386079" h="323850">
                  <a:moveTo>
                    <a:pt x="293447" y="49885"/>
                  </a:moveTo>
                  <a:lnTo>
                    <a:pt x="268427" y="49885"/>
                  </a:lnTo>
                  <a:lnTo>
                    <a:pt x="268427" y="85775"/>
                  </a:lnTo>
                  <a:lnTo>
                    <a:pt x="291314" y="85775"/>
                  </a:lnTo>
                  <a:lnTo>
                    <a:pt x="293210" y="84455"/>
                  </a:lnTo>
                  <a:lnTo>
                    <a:pt x="277190" y="84455"/>
                  </a:lnTo>
                  <a:lnTo>
                    <a:pt x="277190" y="50317"/>
                  </a:lnTo>
                  <a:lnTo>
                    <a:pt x="294135" y="50317"/>
                  </a:lnTo>
                  <a:lnTo>
                    <a:pt x="293447" y="49885"/>
                  </a:lnTo>
                  <a:close/>
                </a:path>
                <a:path w="386079" h="323850">
                  <a:moveTo>
                    <a:pt x="294135" y="50317"/>
                  </a:moveTo>
                  <a:lnTo>
                    <a:pt x="277190" y="50317"/>
                  </a:lnTo>
                  <a:lnTo>
                    <a:pt x="303479" y="66319"/>
                  </a:lnTo>
                  <a:lnTo>
                    <a:pt x="277190" y="84455"/>
                  </a:lnTo>
                  <a:lnTo>
                    <a:pt x="293210" y="84455"/>
                  </a:lnTo>
                  <a:lnTo>
                    <a:pt x="330794" y="58204"/>
                  </a:lnTo>
                  <a:lnTo>
                    <a:pt x="306705" y="58204"/>
                  </a:lnTo>
                  <a:lnTo>
                    <a:pt x="294135" y="50317"/>
                  </a:lnTo>
                  <a:close/>
                </a:path>
                <a:path w="386079" h="323850">
                  <a:moveTo>
                    <a:pt x="340791" y="190"/>
                  </a:moveTo>
                  <a:lnTo>
                    <a:pt x="338086" y="190"/>
                  </a:lnTo>
                  <a:lnTo>
                    <a:pt x="39941" y="81000"/>
                  </a:lnTo>
                  <a:lnTo>
                    <a:pt x="73022" y="81000"/>
                  </a:lnTo>
                  <a:lnTo>
                    <a:pt x="307403" y="17500"/>
                  </a:lnTo>
                  <a:lnTo>
                    <a:pt x="324978" y="17500"/>
                  </a:lnTo>
                  <a:lnTo>
                    <a:pt x="335216" y="11811"/>
                  </a:lnTo>
                  <a:lnTo>
                    <a:pt x="354031" y="11811"/>
                  </a:lnTo>
                  <a:lnTo>
                    <a:pt x="342239" y="977"/>
                  </a:lnTo>
                  <a:lnTo>
                    <a:pt x="342036" y="977"/>
                  </a:lnTo>
                  <a:lnTo>
                    <a:pt x="341617" y="584"/>
                  </a:lnTo>
                  <a:lnTo>
                    <a:pt x="341414" y="584"/>
                  </a:lnTo>
                  <a:lnTo>
                    <a:pt x="341198" y="393"/>
                  </a:lnTo>
                  <a:lnTo>
                    <a:pt x="340995" y="393"/>
                  </a:lnTo>
                  <a:lnTo>
                    <a:pt x="340791" y="190"/>
                  </a:lnTo>
                  <a:close/>
                </a:path>
                <a:path w="386079" h="323850">
                  <a:moveTo>
                    <a:pt x="325994" y="27559"/>
                  </a:moveTo>
                  <a:lnTo>
                    <a:pt x="306705" y="27559"/>
                  </a:lnTo>
                  <a:lnTo>
                    <a:pt x="306705" y="58204"/>
                  </a:lnTo>
                  <a:lnTo>
                    <a:pt x="330794" y="58204"/>
                  </a:lnTo>
                  <a:lnTo>
                    <a:pt x="332044" y="57327"/>
                  </a:lnTo>
                  <a:lnTo>
                    <a:pt x="315925" y="57327"/>
                  </a:lnTo>
                  <a:lnTo>
                    <a:pt x="315925" y="31064"/>
                  </a:lnTo>
                  <a:lnTo>
                    <a:pt x="330747" y="31064"/>
                  </a:lnTo>
                  <a:lnTo>
                    <a:pt x="325994" y="27559"/>
                  </a:lnTo>
                  <a:close/>
                </a:path>
                <a:path w="386079" h="323850">
                  <a:moveTo>
                    <a:pt x="330747" y="31064"/>
                  </a:moveTo>
                  <a:lnTo>
                    <a:pt x="315925" y="31064"/>
                  </a:lnTo>
                  <a:lnTo>
                    <a:pt x="333921" y="44780"/>
                  </a:lnTo>
                  <a:lnTo>
                    <a:pt x="315925" y="57327"/>
                  </a:lnTo>
                  <a:lnTo>
                    <a:pt x="332044" y="57327"/>
                  </a:lnTo>
                  <a:lnTo>
                    <a:pt x="361111" y="36957"/>
                  </a:lnTo>
                  <a:lnTo>
                    <a:pt x="370230" y="36957"/>
                  </a:lnTo>
                  <a:lnTo>
                    <a:pt x="370230" y="36753"/>
                  </a:lnTo>
                  <a:lnTo>
                    <a:pt x="345744" y="36753"/>
                  </a:lnTo>
                  <a:lnTo>
                    <a:pt x="345671" y="35445"/>
                  </a:lnTo>
                  <a:lnTo>
                    <a:pt x="336689" y="35445"/>
                  </a:lnTo>
                  <a:lnTo>
                    <a:pt x="330747" y="31064"/>
                  </a:lnTo>
                  <a:close/>
                </a:path>
                <a:path w="386079" h="323850">
                  <a:moveTo>
                    <a:pt x="357363" y="14871"/>
                  </a:moveTo>
                  <a:lnTo>
                    <a:pt x="344525" y="14871"/>
                  </a:lnTo>
                  <a:lnTo>
                    <a:pt x="358355" y="27686"/>
                  </a:lnTo>
                  <a:lnTo>
                    <a:pt x="345744" y="36753"/>
                  </a:lnTo>
                  <a:lnTo>
                    <a:pt x="370230" y="36753"/>
                  </a:lnTo>
                  <a:lnTo>
                    <a:pt x="370230" y="27520"/>
                  </a:lnTo>
                  <a:lnTo>
                    <a:pt x="369811" y="26149"/>
                  </a:lnTo>
                  <a:lnTo>
                    <a:pt x="368782" y="25361"/>
                  </a:lnTo>
                  <a:lnTo>
                    <a:pt x="357363" y="14871"/>
                  </a:lnTo>
                  <a:close/>
                </a:path>
                <a:path w="386079" h="323850">
                  <a:moveTo>
                    <a:pt x="354031" y="11811"/>
                  </a:moveTo>
                  <a:lnTo>
                    <a:pt x="335216" y="11811"/>
                  </a:lnTo>
                  <a:lnTo>
                    <a:pt x="336689" y="35445"/>
                  </a:lnTo>
                  <a:lnTo>
                    <a:pt x="345671" y="35445"/>
                  </a:lnTo>
                  <a:lnTo>
                    <a:pt x="344525" y="14871"/>
                  </a:lnTo>
                  <a:lnTo>
                    <a:pt x="357363" y="14871"/>
                  </a:lnTo>
                  <a:lnTo>
                    <a:pt x="354031" y="11811"/>
                  </a:lnTo>
                  <a:close/>
                </a:path>
                <a:path w="386079" h="323850">
                  <a:moveTo>
                    <a:pt x="340169" y="0"/>
                  </a:moveTo>
                  <a:lnTo>
                    <a:pt x="338505" y="0"/>
                  </a:lnTo>
                  <a:lnTo>
                    <a:pt x="338302" y="190"/>
                  </a:lnTo>
                  <a:lnTo>
                    <a:pt x="340169" y="190"/>
                  </a:lnTo>
                  <a:lnTo>
                    <a:pt x="340169" y="0"/>
                  </a:lnTo>
                  <a:close/>
                </a:path>
              </a:pathLst>
            </a:custGeom>
            <a:solidFill>
              <a:srgbClr val="21505F"/>
            </a:solid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400" b="0" i="0" u="none" strike="noStrike" kern="1200" cap="none" spc="0" normalizeH="0" baseline="0" noProof="0">
                <a:ln>
                  <a:noFill/>
                </a:ln>
                <a:solidFill>
                  <a:srgbClr val="22505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pic>
          <p:nvPicPr>
            <p:cNvPr id="24" name="object 16">
              <a:extLst>
                <a:ext uri="{FF2B5EF4-FFF2-40B4-BE49-F238E27FC236}">
                  <a16:creationId xmlns:a16="http://schemas.microsoft.com/office/drawing/2014/main" id="{8BEE0BA4-5AA9-3C4C-60C4-74AEA5CDE7C4}"/>
                </a:ext>
              </a:extLst>
            </p:cNvPr>
            <p:cNvPicPr/>
            <p:nvPr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069059" y="3177650"/>
              <a:ext cx="174498" cy="191262"/>
            </a:xfrm>
            <a:prstGeom prst="rect">
              <a:avLst/>
            </a:prstGeom>
          </p:spPr>
        </p:pic>
      </p:grpSp>
      <p:pic>
        <p:nvPicPr>
          <p:cNvPr id="29" name="Picture 8">
            <a:extLst>
              <a:ext uri="{FF2B5EF4-FFF2-40B4-BE49-F238E27FC236}">
                <a16:creationId xmlns:a16="http://schemas.microsoft.com/office/drawing/2014/main" id="{0B55A126-7C8F-6B77-61CE-0F754C9C8858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 l="10513" r="3886" b="1828"/>
          <a:stretch/>
        </p:blipFill>
        <p:spPr>
          <a:xfrm>
            <a:off x="329662" y="1544512"/>
            <a:ext cx="720000" cy="723595"/>
          </a:xfrm>
          <a:prstGeom prst="rect">
            <a:avLst/>
          </a:prstGeom>
        </p:spPr>
      </p:pic>
      <p:sp>
        <p:nvSpPr>
          <p:cNvPr id="30" name="TextBox 51">
            <a:extLst>
              <a:ext uri="{FF2B5EF4-FFF2-40B4-BE49-F238E27FC236}">
                <a16:creationId xmlns:a16="http://schemas.microsoft.com/office/drawing/2014/main" id="{0D963590-61BE-B711-57EB-2B7AACE1FEAB}"/>
              </a:ext>
            </a:extLst>
          </p:cNvPr>
          <p:cNvSpPr txBox="1"/>
          <p:nvPr/>
        </p:nvSpPr>
        <p:spPr>
          <a:xfrm>
            <a:off x="329665" y="4529837"/>
            <a:ext cx="1147564" cy="386740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it-IT" b="1">
                <a:solidFill>
                  <a:srgbClr val="30636E"/>
                </a:solidFill>
                <a:latin typeface="Bahnschrift Light SemiCondensed"/>
              </a:rPr>
              <a:t>CAPEX</a:t>
            </a:r>
            <a:endParaRPr kumimoji="0" lang="en-US" sz="1800" b="1" i="0" u="none" strike="noStrike" kern="1200" cap="none" spc="0" normalizeH="0" baseline="30000" noProof="0">
              <a:ln>
                <a:noFill/>
              </a:ln>
              <a:solidFill>
                <a:srgbClr val="2D716B"/>
              </a:solidFill>
              <a:effectLst/>
              <a:uLnTx/>
              <a:uFillTx/>
              <a:latin typeface="Bahnschrift Light SemiCondensed"/>
              <a:ea typeface="+mn-ea"/>
              <a:cs typeface="+mn-cs"/>
            </a:endParaRPr>
          </a:p>
        </p:txBody>
      </p:sp>
      <p:sp>
        <p:nvSpPr>
          <p:cNvPr id="31" name="TextBox 51">
            <a:extLst>
              <a:ext uri="{FF2B5EF4-FFF2-40B4-BE49-F238E27FC236}">
                <a16:creationId xmlns:a16="http://schemas.microsoft.com/office/drawing/2014/main" id="{4982DC70-ED79-36FA-7883-47E7E2C0F52D}"/>
              </a:ext>
            </a:extLst>
          </p:cNvPr>
          <p:cNvSpPr txBox="1"/>
          <p:nvPr/>
        </p:nvSpPr>
        <p:spPr>
          <a:xfrm>
            <a:off x="1698087" y="4551987"/>
            <a:ext cx="1147564" cy="386740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it-IT" b="1">
                <a:solidFill>
                  <a:srgbClr val="30636E"/>
                </a:solidFill>
                <a:latin typeface="Bahnschrift Light SemiCondensed"/>
              </a:rPr>
              <a:t>GRANT</a:t>
            </a:r>
            <a:endParaRPr kumimoji="0" lang="en-US" sz="1800" b="1" i="0" u="none" strike="noStrike" kern="1200" cap="none" spc="0" normalizeH="0" baseline="30000" noProof="0">
              <a:ln>
                <a:noFill/>
              </a:ln>
              <a:solidFill>
                <a:srgbClr val="2D716B"/>
              </a:solidFill>
              <a:effectLst/>
              <a:uLnTx/>
              <a:uFillTx/>
              <a:latin typeface="Bahnschrift Light SemiCondensed"/>
              <a:ea typeface="+mn-ea"/>
              <a:cs typeface="+mn-cs"/>
            </a:endParaRPr>
          </a:p>
        </p:txBody>
      </p:sp>
      <p:cxnSp>
        <p:nvCxnSpPr>
          <p:cNvPr id="33" name="Connettore diritto 32">
            <a:extLst>
              <a:ext uri="{FF2B5EF4-FFF2-40B4-BE49-F238E27FC236}">
                <a16:creationId xmlns:a16="http://schemas.microsoft.com/office/drawing/2014/main" id="{D65EC89F-1DF9-31F9-7C2D-C650E8CE30A3}"/>
              </a:ext>
            </a:extLst>
          </p:cNvPr>
          <p:cNvCxnSpPr/>
          <p:nvPr/>
        </p:nvCxnSpPr>
        <p:spPr>
          <a:xfrm>
            <a:off x="1603642" y="4360127"/>
            <a:ext cx="0" cy="2130251"/>
          </a:xfrm>
          <a:prstGeom prst="line">
            <a:avLst/>
          </a:prstGeom>
          <a:ln>
            <a:prstDash val="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0169623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asellaDiTesto 10">
            <a:extLst>
              <a:ext uri="{FF2B5EF4-FFF2-40B4-BE49-F238E27FC236}">
                <a16:creationId xmlns:a16="http://schemas.microsoft.com/office/drawing/2014/main" id="{FED69427-4844-73A6-43D7-9E0485434374}"/>
              </a:ext>
            </a:extLst>
          </p:cNvPr>
          <p:cNvSpPr txBox="1"/>
          <p:nvPr/>
        </p:nvSpPr>
        <p:spPr>
          <a:xfrm>
            <a:off x="213542" y="138883"/>
            <a:ext cx="8854424" cy="584775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it-IT" sz="3200" dirty="0">
                <a:solidFill>
                  <a:srgbClr val="30636E"/>
                </a:solidFill>
                <a:latin typeface="Bahnschrift Light SemiCondensed"/>
              </a:rPr>
              <a:t>CAPTURESTE – Punti di forza del progetto</a:t>
            </a:r>
            <a:endParaRPr lang="it-IT" sz="3200" dirty="0">
              <a:solidFill>
                <a:srgbClr val="30636E"/>
              </a:solidFill>
              <a:latin typeface="Bahnschrift Light SemiCondensed" panose="020B0502040204020203" pitchFamily="34" charset="0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DD34A355-522B-F957-F6ED-46776E7B9217}"/>
              </a:ext>
            </a:extLst>
          </p:cNvPr>
          <p:cNvSpPr/>
          <p:nvPr/>
        </p:nvSpPr>
        <p:spPr>
          <a:xfrm>
            <a:off x="1752599" y="1330793"/>
            <a:ext cx="8972552" cy="1081797"/>
          </a:xfrm>
          <a:prstGeom prst="rect">
            <a:avLst/>
          </a:prstGeom>
          <a:noFill/>
          <a:ln>
            <a:solidFill>
              <a:srgbClr val="32837D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r>
              <a:rPr lang="it-IT" sz="2000" b="1" dirty="0">
                <a:solidFill>
                  <a:srgbClr val="40B3AA"/>
                </a:solidFill>
                <a:latin typeface="Bahnschrift Light SemiCondensed"/>
              </a:rPr>
              <a:t>Applicazione </a:t>
            </a:r>
            <a:r>
              <a:rPr lang="it-IT" sz="2000" b="1" i="1" dirty="0">
                <a:solidFill>
                  <a:srgbClr val="40B3AA"/>
                </a:solidFill>
                <a:latin typeface="Bahnschrift Light SemiCondensed"/>
              </a:rPr>
              <a:t>first-of-a-</a:t>
            </a:r>
            <a:r>
              <a:rPr lang="it-IT" sz="2000" b="1" i="1" dirty="0" err="1">
                <a:solidFill>
                  <a:srgbClr val="40B3AA"/>
                </a:solidFill>
                <a:latin typeface="Bahnschrift Light SemiCondensed"/>
              </a:rPr>
              <a:t>kind</a:t>
            </a:r>
            <a:r>
              <a:rPr lang="it-IT" sz="2000" i="1" dirty="0">
                <a:solidFill>
                  <a:srgbClr val="30636E"/>
                </a:solidFill>
                <a:latin typeface="Bahnschrift Light SemiCondensed"/>
              </a:rPr>
              <a:t> </a:t>
            </a:r>
            <a:r>
              <a:rPr lang="it-IT" sz="2000" dirty="0">
                <a:solidFill>
                  <a:srgbClr val="30636E"/>
                </a:solidFill>
                <a:latin typeface="Bahnschrift Light SemiCondensed"/>
              </a:rPr>
              <a:t>su impianto Waste-to-Energy:</a:t>
            </a:r>
          </a:p>
          <a:p>
            <a:pPr marL="283845" lvl="1" indent="-285750">
              <a:buFont typeface="Arial" panose="020B0604020202020204" pitchFamily="34" charset="0"/>
              <a:buChar char="•"/>
            </a:pPr>
            <a:r>
              <a:rPr lang="it-IT" sz="2000" dirty="0">
                <a:solidFill>
                  <a:srgbClr val="30636E"/>
                </a:solidFill>
                <a:latin typeface="Bahnschrift Light SemiCondensed" panose="020B0502040204020203" pitchFamily="34" charset="0"/>
              </a:rPr>
              <a:t>Tecnologia di cattura CO₂ enzimatica su scala industriale;</a:t>
            </a:r>
          </a:p>
          <a:p>
            <a:pPr marL="285750" lvl="1" indent="-285750">
              <a:buFont typeface="Arial,Sans-Serif" panose="020B0604020202020204" pitchFamily="34" charset="0"/>
              <a:buChar char="•"/>
            </a:pPr>
            <a:r>
              <a:rPr lang="it-IT" sz="2000" b="1" dirty="0">
                <a:solidFill>
                  <a:srgbClr val="30636E"/>
                </a:solidFill>
                <a:latin typeface="Bahnschrift Light SemiCondensed"/>
              </a:rPr>
              <a:t>Utilizzo di calore a bassa temperatura fornito dalla geotermia.</a:t>
            </a:r>
            <a:endParaRPr lang="en-US" sz="2000" b="1" dirty="0">
              <a:solidFill>
                <a:srgbClr val="000000"/>
              </a:solidFill>
              <a:latin typeface="Bahnschrift Light SemiCondensed"/>
            </a:endParaRPr>
          </a:p>
        </p:txBody>
      </p:sp>
      <p:pic>
        <p:nvPicPr>
          <p:cNvPr id="17" name="Graphic 16" descr="Lightbulb and gear with solid fill">
            <a:extLst>
              <a:ext uri="{FF2B5EF4-FFF2-40B4-BE49-F238E27FC236}">
                <a16:creationId xmlns:a16="http://schemas.microsoft.com/office/drawing/2014/main" id="{B84AFB6D-250A-84EB-1D1B-089B60C3E81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06711" y="1345544"/>
            <a:ext cx="914400" cy="914400"/>
          </a:xfrm>
          <a:prstGeom prst="rect">
            <a:avLst/>
          </a:prstGeom>
        </p:spPr>
      </p:pic>
      <p:sp>
        <p:nvSpPr>
          <p:cNvPr id="22" name="Rectangle 21">
            <a:extLst>
              <a:ext uri="{FF2B5EF4-FFF2-40B4-BE49-F238E27FC236}">
                <a16:creationId xmlns:a16="http://schemas.microsoft.com/office/drawing/2014/main" id="{06713955-3331-FEB3-8BCD-BEB01B160C23}"/>
              </a:ext>
            </a:extLst>
          </p:cNvPr>
          <p:cNvSpPr/>
          <p:nvPr/>
        </p:nvSpPr>
        <p:spPr>
          <a:xfrm>
            <a:off x="1752598" y="4450096"/>
            <a:ext cx="8972552" cy="1345897"/>
          </a:xfrm>
          <a:prstGeom prst="rect">
            <a:avLst/>
          </a:prstGeom>
          <a:noFill/>
          <a:ln>
            <a:solidFill>
              <a:srgbClr val="32837D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r>
              <a:rPr lang="it-IT" sz="2000" b="1" dirty="0">
                <a:solidFill>
                  <a:srgbClr val="40B3AA"/>
                </a:solidFill>
                <a:latin typeface="Bahnschrift Light SemiCondensed"/>
              </a:rPr>
              <a:t>Opportunità</a:t>
            </a:r>
            <a:r>
              <a:rPr lang="it-IT" sz="2000" dirty="0">
                <a:solidFill>
                  <a:srgbClr val="30636E"/>
                </a:solidFill>
                <a:latin typeface="Bahnschrift Light SemiCondensed"/>
              </a:rPr>
              <a:t>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it-IT" sz="2000" dirty="0">
                <a:solidFill>
                  <a:srgbClr val="30636E"/>
                </a:solidFill>
                <a:latin typeface="Bahnschrift Light SemiCondensed"/>
              </a:rPr>
              <a:t>Vicinanza all'Hub Ravenna CCS con possibilità di trasporto via pipeline in fase gassosa;</a:t>
            </a:r>
            <a:endParaRPr lang="it-IT" sz="2000" dirty="0">
              <a:solidFill>
                <a:srgbClr val="30636E"/>
              </a:solidFill>
              <a:latin typeface="Bahnschrift Light SemiCondensed" panose="020B0502040204020203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it-IT" sz="2000" dirty="0">
                <a:solidFill>
                  <a:srgbClr val="30636E"/>
                </a:solidFill>
                <a:latin typeface="Bahnschrift Light SemiCondensed"/>
              </a:rPr>
              <a:t>Replicabilità della tecnologia su altri impianti WTE.</a:t>
            </a:r>
            <a:endParaRPr lang="it-IT" dirty="0"/>
          </a:p>
        </p:txBody>
      </p:sp>
      <p:pic>
        <p:nvPicPr>
          <p:cNvPr id="28" name="Graphic 27" descr="Upstairs with solid fill">
            <a:extLst>
              <a:ext uri="{FF2B5EF4-FFF2-40B4-BE49-F238E27FC236}">
                <a16:creationId xmlns:a16="http://schemas.microsoft.com/office/drawing/2014/main" id="{7E85EB60-D00E-A624-D8BD-45FC10DB9222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606711" y="4613270"/>
            <a:ext cx="914400" cy="914400"/>
          </a:xfrm>
          <a:prstGeom prst="rect">
            <a:avLst/>
          </a:prstGeom>
        </p:spPr>
      </p:pic>
      <p:sp>
        <p:nvSpPr>
          <p:cNvPr id="31" name="Rectangle 30">
            <a:extLst>
              <a:ext uri="{FF2B5EF4-FFF2-40B4-BE49-F238E27FC236}">
                <a16:creationId xmlns:a16="http://schemas.microsoft.com/office/drawing/2014/main" id="{645A1621-4FDA-1B55-7E91-6A825E3FF317}"/>
              </a:ext>
            </a:extLst>
          </p:cNvPr>
          <p:cNvSpPr/>
          <p:nvPr/>
        </p:nvSpPr>
        <p:spPr>
          <a:xfrm>
            <a:off x="1752598" y="2768017"/>
            <a:ext cx="8972552" cy="1357236"/>
          </a:xfrm>
          <a:prstGeom prst="rect">
            <a:avLst/>
          </a:prstGeom>
          <a:noFill/>
          <a:ln>
            <a:solidFill>
              <a:srgbClr val="32837D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marL="0" lvl="1"/>
            <a:r>
              <a:rPr lang="it-IT" sz="2000" b="1" dirty="0">
                <a:solidFill>
                  <a:srgbClr val="40B3AA"/>
                </a:solidFill>
                <a:latin typeface="Bahnschrift Light SemiCondensed" panose="020B0502040204020203" pitchFamily="34" charset="0"/>
              </a:rPr>
              <a:t>Sostenibilità ambientale</a:t>
            </a:r>
            <a:r>
              <a:rPr lang="it-IT" sz="2000" dirty="0">
                <a:solidFill>
                  <a:srgbClr val="30636E"/>
                </a:solidFill>
                <a:latin typeface="Bahnschrift Light SemiCondensed" panose="020B0502040204020203" pitchFamily="34" charset="0"/>
              </a:rPr>
              <a:t> della tecnologia proposta grazie a: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it-IT" sz="2000" dirty="0">
                <a:solidFill>
                  <a:srgbClr val="30636E"/>
                </a:solidFill>
                <a:latin typeface="Bahnschrift Light SemiCondensed"/>
              </a:rPr>
              <a:t>Utilizzo di un solvente stabile, </a:t>
            </a:r>
            <a:r>
              <a:rPr lang="it-IT" sz="2000" b="1" dirty="0">
                <a:solidFill>
                  <a:srgbClr val="30636E"/>
                </a:solidFill>
                <a:latin typeface="Bahnschrift Light SemiCondensed"/>
              </a:rPr>
              <a:t>non tossico </a:t>
            </a:r>
            <a:r>
              <a:rPr lang="it-IT" sz="2000" dirty="0">
                <a:solidFill>
                  <a:srgbClr val="30636E"/>
                </a:solidFill>
                <a:latin typeface="Bahnschrift Light SemiCondensed"/>
              </a:rPr>
              <a:t>e non pericoloso;</a:t>
            </a:r>
            <a:endParaRPr lang="it-IT" sz="2000" dirty="0">
              <a:solidFill>
                <a:srgbClr val="30636E"/>
              </a:solidFill>
              <a:latin typeface="Bahnschrift Light SemiCondensed" panose="020B0502040204020203" pitchFamily="34" charset="0"/>
            </a:endParaRP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it-IT" sz="2000" b="1" dirty="0">
                <a:solidFill>
                  <a:srgbClr val="30636E"/>
                </a:solidFill>
                <a:latin typeface="Bahnschrift Light SemiCondensed"/>
              </a:rPr>
              <a:t>Nessuna formazione di inquinanti </a:t>
            </a:r>
            <a:r>
              <a:rPr lang="it-IT" sz="2000" dirty="0">
                <a:solidFill>
                  <a:srgbClr val="30636E"/>
                </a:solidFill>
                <a:latin typeface="Bahnschrift Light SemiCondensed"/>
              </a:rPr>
              <a:t>secondari</a:t>
            </a:r>
            <a:r>
              <a:rPr lang="it-IT" sz="2000" b="1" dirty="0">
                <a:solidFill>
                  <a:srgbClr val="30636E"/>
                </a:solidFill>
                <a:latin typeface="Bahnschrift Light SemiCondensed"/>
              </a:rPr>
              <a:t> </a:t>
            </a:r>
            <a:r>
              <a:rPr lang="it-IT" sz="2000" dirty="0">
                <a:solidFill>
                  <a:srgbClr val="30636E"/>
                </a:solidFill>
                <a:latin typeface="Bahnschrift Light SemiCondensed"/>
              </a:rPr>
              <a:t>alle emissioni.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it-IT" sz="2000" dirty="0">
                <a:solidFill>
                  <a:srgbClr val="30636E"/>
                </a:solidFill>
                <a:latin typeface="Bahnschrift Light SemiCondensed"/>
              </a:rPr>
              <a:t>Impiego di </a:t>
            </a:r>
            <a:r>
              <a:rPr lang="it-IT" sz="2000" b="1" dirty="0">
                <a:solidFill>
                  <a:srgbClr val="30636E"/>
                </a:solidFill>
                <a:latin typeface="Bahnschrift Light SemiCondensed"/>
              </a:rPr>
              <a:t>calore rinnovabile</a:t>
            </a:r>
            <a:r>
              <a:rPr lang="it-IT" sz="2000" dirty="0">
                <a:solidFill>
                  <a:srgbClr val="30636E"/>
                </a:solidFill>
                <a:latin typeface="Bahnschrift Light SemiCondensed"/>
              </a:rPr>
              <a:t>.</a:t>
            </a:r>
          </a:p>
        </p:txBody>
      </p:sp>
      <p:pic>
        <p:nvPicPr>
          <p:cNvPr id="33" name="Graphic 32" descr="Leaf with solid fill">
            <a:extLst>
              <a:ext uri="{FF2B5EF4-FFF2-40B4-BE49-F238E27FC236}">
                <a16:creationId xmlns:a16="http://schemas.microsoft.com/office/drawing/2014/main" id="{713EC638-434B-7D27-FDD1-FA812307D63E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606711" y="3052508"/>
            <a:ext cx="914400" cy="91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4781767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5AiJlc1SjikgjnNs387n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GRADIENT_CIRCLE" val="1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GRADIENT_CIRCLE" val="1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GRADIENT_CIRCLE" val="1"/>
</p:tagLst>
</file>

<file path=ppt/theme/theme1.xml><?xml version="1.0" encoding="utf-8"?>
<a:theme xmlns:a="http://schemas.openxmlformats.org/drawingml/2006/main" name="Tema di Offic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2.xml><?xml version="1.0" encoding="utf-8"?>
<a:theme xmlns:a="http://schemas.openxmlformats.org/drawingml/2006/main" name="Tema di Offic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3.xml><?xml version="1.0" encoding="utf-8"?>
<a:theme xmlns:a="http://schemas.openxmlformats.org/drawingml/2006/main" name="Tema di Offic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E2AD230C5722264DB2BD04C2B1298BE1" ma:contentTypeVersion="4" ma:contentTypeDescription="Create a new document." ma:contentTypeScope="" ma:versionID="928c1cba6e232681f1e4f7ba43be553f">
  <xsd:schema xmlns:xsd="http://www.w3.org/2001/XMLSchema" xmlns:xs="http://www.w3.org/2001/XMLSchema" xmlns:p="http://schemas.microsoft.com/office/2006/metadata/properties" xmlns:ns2="a93c88e2-1f2c-4864-bdcb-b18abe6c8529" targetNamespace="http://schemas.microsoft.com/office/2006/metadata/properties" ma:root="true" ma:fieldsID="dd90c0bf63387cb8f3dee3a6dbef9cd2" ns2:_="">
    <xsd:import namespace="a93c88e2-1f2c-4864-bdcb-b18abe6c852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93c88e2-1f2c-4864-bdcb-b18abe6c8529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11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12B71112-75E6-4655-AAA8-4568FF0F58F7}">
  <ds:schemaRefs>
    <ds:schemaRef ds:uri="http://schemas.microsoft.com/office/2006/documentManagement/types"/>
    <ds:schemaRef ds:uri="http://schemas.openxmlformats.org/package/2006/metadata/core-properties"/>
    <ds:schemaRef ds:uri="a93c88e2-1f2c-4864-bdcb-b18abe6c8529"/>
    <ds:schemaRef ds:uri="http://purl.org/dc/elements/1.1/"/>
    <ds:schemaRef ds:uri="http://purl.org/dc/dcmitype/"/>
    <ds:schemaRef ds:uri="http://schemas.microsoft.com/office/2006/metadata/properties"/>
    <ds:schemaRef ds:uri="http://schemas.microsoft.com/office/infopath/2007/PartnerControls"/>
    <ds:schemaRef ds:uri="http://purl.org/dc/terms/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3DCB3B79-AF14-44CE-BC61-1DF489672BEC}">
  <ds:schemaRefs>
    <ds:schemaRef ds:uri="a93c88e2-1f2c-4864-bdcb-b18abe6c8529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3.xml><?xml version="1.0" encoding="utf-8"?>
<ds:datastoreItem xmlns:ds="http://schemas.openxmlformats.org/officeDocument/2006/customXml" ds:itemID="{C800CB29-1F05-476F-87CF-2E6472A710E2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1167</TotalTime>
  <Words>1527</Words>
  <Application>Microsoft Office PowerPoint</Application>
  <PresentationFormat>Widescreen</PresentationFormat>
  <Paragraphs>245</Paragraphs>
  <Slides>19</Slides>
  <Notes>5</Notes>
  <HiddenSlides>0</HiddenSlides>
  <MMClips>0</MMClips>
  <ScaleCrop>false</ScaleCrop>
  <HeadingPairs>
    <vt:vector size="8" baseType="variant">
      <vt:variant>
        <vt:lpstr>Caratteri utilizzati</vt:lpstr>
      </vt:variant>
      <vt:variant>
        <vt:i4>10</vt:i4>
      </vt:variant>
      <vt:variant>
        <vt:lpstr>Tema</vt:lpstr>
      </vt:variant>
      <vt:variant>
        <vt:i4>1</vt:i4>
      </vt:variant>
      <vt:variant>
        <vt:lpstr>Server OLE incorporati</vt:lpstr>
      </vt:variant>
      <vt:variant>
        <vt:i4>1</vt:i4>
      </vt:variant>
      <vt:variant>
        <vt:lpstr>Titoli diapositive</vt:lpstr>
      </vt:variant>
      <vt:variant>
        <vt:i4>19</vt:i4>
      </vt:variant>
    </vt:vector>
  </HeadingPairs>
  <TitlesOfParts>
    <vt:vector size="31" baseType="lpstr">
      <vt:lpstr>Aptos</vt:lpstr>
      <vt:lpstr>Aptos Display</vt:lpstr>
      <vt:lpstr>Arial</vt:lpstr>
      <vt:lpstr>Arial,Sans-Serif</vt:lpstr>
      <vt:lpstr>Bahnschrift Light SemiCondensed</vt:lpstr>
      <vt:lpstr>Calibri</vt:lpstr>
      <vt:lpstr>Conduit ITC</vt:lpstr>
      <vt:lpstr>News Gothic MT</vt:lpstr>
      <vt:lpstr>Trebuchet MS</vt:lpstr>
      <vt:lpstr>Wingdings</vt:lpstr>
      <vt:lpstr>Tema di Office</vt:lpstr>
      <vt:lpstr>think-cell Slide</vt:lpstr>
      <vt:lpstr>CANDIDATURA di CAPTURESTE all’innovation fund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CHINI SEBASTIANO</dc:creator>
  <cp:lastModifiedBy>Barbieri Marco</cp:lastModifiedBy>
  <cp:revision>10</cp:revision>
  <dcterms:created xsi:type="dcterms:W3CDTF">2025-05-16T09:44:46Z</dcterms:created>
  <dcterms:modified xsi:type="dcterms:W3CDTF">2026-01-23T12:32:4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E2AD230C5722264DB2BD04C2B1298BE1</vt:lpwstr>
  </property>
  <property fmtid="{D5CDD505-2E9C-101B-9397-08002B2CF9AE}" pid="3" name="MSIP_Label_2e1840fb-8939-4796-95d0-bc833736564d_Enabled">
    <vt:lpwstr>true</vt:lpwstr>
  </property>
  <property fmtid="{D5CDD505-2E9C-101B-9397-08002B2CF9AE}" pid="4" name="MSIP_Label_2e1840fb-8939-4796-95d0-bc833736564d_SetDate">
    <vt:lpwstr>2025-11-14T11:25:39Z</vt:lpwstr>
  </property>
  <property fmtid="{D5CDD505-2E9C-101B-9397-08002B2CF9AE}" pid="5" name="MSIP_Label_2e1840fb-8939-4796-95d0-bc833736564d_Method">
    <vt:lpwstr>Standard</vt:lpwstr>
  </property>
  <property fmtid="{D5CDD505-2E9C-101B-9397-08002B2CF9AE}" pid="6" name="MSIP_Label_2e1840fb-8939-4796-95d0-bc833736564d_Name">
    <vt:lpwstr>Confidential - Open Access</vt:lpwstr>
  </property>
  <property fmtid="{D5CDD505-2E9C-101B-9397-08002B2CF9AE}" pid="7" name="MSIP_Label_2e1840fb-8939-4796-95d0-bc833736564d_SiteId">
    <vt:lpwstr>513294a0-3e20-41b2-a970-6d30bf1546fa</vt:lpwstr>
  </property>
  <property fmtid="{D5CDD505-2E9C-101B-9397-08002B2CF9AE}" pid="8" name="MSIP_Label_2e1840fb-8939-4796-95d0-bc833736564d_ActionId">
    <vt:lpwstr>3141c11e-41e5-4d1f-a60b-ca4e69c4bc23</vt:lpwstr>
  </property>
  <property fmtid="{D5CDD505-2E9C-101B-9397-08002B2CF9AE}" pid="9" name="MSIP_Label_2e1840fb-8939-4796-95d0-bc833736564d_ContentBits">
    <vt:lpwstr>0</vt:lpwstr>
  </property>
  <property fmtid="{D5CDD505-2E9C-101B-9397-08002B2CF9AE}" pid="10" name="MSIP_Label_2e1840fb-8939-4796-95d0-bc833736564d_Tag">
    <vt:lpwstr>10, 3, 0, 2</vt:lpwstr>
  </property>
</Properties>
</file>